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5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1" r:id="rId1"/>
    <p:sldMasterId id="2147483700" r:id="rId2"/>
    <p:sldMasterId id="2147483724" r:id="rId3"/>
    <p:sldMasterId id="2147483751" r:id="rId4"/>
    <p:sldMasterId id="2147483770" r:id="rId5"/>
    <p:sldMasterId id="2147483804" r:id="rId6"/>
  </p:sldMasterIdLst>
  <p:notesMasterIdLst>
    <p:notesMasterId r:id="rId46"/>
  </p:notesMasterIdLst>
  <p:handoutMasterIdLst>
    <p:handoutMasterId r:id="rId47"/>
  </p:handoutMasterIdLst>
  <p:sldIdLst>
    <p:sldId id="325" r:id="rId7"/>
    <p:sldId id="4195" r:id="rId8"/>
    <p:sldId id="4370" r:id="rId9"/>
    <p:sldId id="4379" r:id="rId10"/>
    <p:sldId id="393" r:id="rId11"/>
    <p:sldId id="4369" r:id="rId12"/>
    <p:sldId id="4371" r:id="rId13"/>
    <p:sldId id="4372" r:id="rId14"/>
    <p:sldId id="331" r:id="rId15"/>
    <p:sldId id="4373" r:id="rId16"/>
    <p:sldId id="4374" r:id="rId17"/>
    <p:sldId id="4375" r:id="rId18"/>
    <p:sldId id="4395" r:id="rId19"/>
    <p:sldId id="4377" r:id="rId20"/>
    <p:sldId id="4378" r:id="rId21"/>
    <p:sldId id="4380" r:id="rId22"/>
    <p:sldId id="4381" r:id="rId23"/>
    <p:sldId id="4383" r:id="rId24"/>
    <p:sldId id="4382" r:id="rId25"/>
    <p:sldId id="4384" r:id="rId26"/>
    <p:sldId id="4385" r:id="rId27"/>
    <p:sldId id="406" r:id="rId28"/>
    <p:sldId id="4292" r:id="rId29"/>
    <p:sldId id="4387" r:id="rId30"/>
    <p:sldId id="4388" r:id="rId31"/>
    <p:sldId id="4389" r:id="rId32"/>
    <p:sldId id="4390" r:id="rId33"/>
    <p:sldId id="4391" r:id="rId34"/>
    <p:sldId id="4253" r:id="rId35"/>
    <p:sldId id="4318" r:id="rId36"/>
    <p:sldId id="4398" r:id="rId37"/>
    <p:sldId id="4208" r:id="rId38"/>
    <p:sldId id="4265" r:id="rId39"/>
    <p:sldId id="4287" r:id="rId40"/>
    <p:sldId id="4386" r:id="rId41"/>
    <p:sldId id="4396" r:id="rId42"/>
    <p:sldId id="407" r:id="rId43"/>
    <p:sldId id="4392" r:id="rId44"/>
    <p:sldId id="347" r:id="rId45"/>
  </p:sldIdLst>
  <p:sldSz cx="9144000" cy="5143500" type="screen16x9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eu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BE50"/>
    <a:srgbClr val="FE581A"/>
    <a:srgbClr val="B29F00"/>
    <a:srgbClr val="00AEEF"/>
    <a:srgbClr val="174760"/>
    <a:srgbClr val="E9242A"/>
    <a:srgbClr val="669900"/>
    <a:srgbClr val="F2F2F2"/>
    <a:srgbClr val="0066A1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89" autoAdjust="0"/>
    <p:restoredTop sz="92472" autoAdjust="0"/>
  </p:normalViewPr>
  <p:slideViewPr>
    <p:cSldViewPr>
      <p:cViewPr varScale="1">
        <p:scale>
          <a:sx n="141" d="100"/>
          <a:sy n="141" d="100"/>
        </p:scale>
        <p:origin x="624" y="11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143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>
        <p:scale>
          <a:sx n="200" d="100"/>
          <a:sy n="200" d="100"/>
        </p:scale>
        <p:origin x="-240" y="144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6C8D35-C925-4B78-8BD4-A0245E8CA4FD}" type="doc">
      <dgm:prSet loTypeId="urn:microsoft.com/office/officeart/2005/8/layout/process3" loCatId="process" qsTypeId="urn:microsoft.com/office/officeart/2005/8/quickstyle/simple1" qsCatId="simple" csTypeId="urn:microsoft.com/office/officeart/2005/8/colors/accent3_2" csCatId="accent3" phldr="1"/>
      <dgm:spPr/>
    </dgm:pt>
    <dgm:pt modelId="{C9D8EE4F-F58D-4351-8E4C-1A706AF70CA8}">
      <dgm:prSet phldrT="[Texte]" custT="1"/>
      <dgm:spPr>
        <a:xfrm rot="5400000">
          <a:off x="-302696" y="303984"/>
          <a:ext cx="2017978" cy="1412585"/>
        </a:xfrm>
        <a:solidFill>
          <a:srgbClr val="90BB23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fr-FR" sz="1100" b="1" dirty="0" err="1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tep</a:t>
          </a:r>
          <a:r>
            <a:rPr lang="fr-FR" sz="1100" b="1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1: Clustering</a:t>
          </a:r>
        </a:p>
      </dgm:t>
    </dgm:pt>
    <dgm:pt modelId="{7194B44B-34E5-4721-9DD5-A1D963DD8194}" type="parTrans" cxnId="{352765BA-077C-466D-B0D7-8E8DB2052A61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900175-DBAE-4259-B402-B68AD4B0B3F4}" type="sibTrans" cxnId="{352765BA-077C-466D-B0D7-8E8DB2052A61}">
      <dgm:prSet custT="1"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826307-C979-4230-A607-5D8431FA6670}">
      <dgm:prSet phldrT="[Texte]" custT="1"/>
      <dgm:spPr>
        <a:xfrm rot="5400000">
          <a:off x="-302696" y="2033721"/>
          <a:ext cx="2017978" cy="1412585"/>
        </a:xfrm>
        <a:solidFill>
          <a:srgbClr val="90BB23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fr-FR" sz="1100" b="1" dirty="0" err="1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tep</a:t>
          </a:r>
          <a:r>
            <a:rPr lang="fr-FR" sz="1100" b="1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2: Cluster fusion</a:t>
          </a:r>
        </a:p>
      </dgm:t>
    </dgm:pt>
    <dgm:pt modelId="{5D5A0C2E-FF7B-43C6-AA77-7CE1AB804109}" type="parTrans" cxnId="{F1CAC466-6C1F-4224-9574-2CA30A785B79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9CED16-12B6-4A22-83BC-B43F376CF4E6}" type="sibTrans" cxnId="{F1CAC466-6C1F-4224-9574-2CA30A785B79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C4E9DC3-8CA0-450E-884C-B1BD3762AC7D}">
      <dgm:prSet custT="1"/>
      <dgm:spPr>
        <a:xfrm rot="5400000">
          <a:off x="3509968" y="-2096095"/>
          <a:ext cx="1311686" cy="5506452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rPr>
            <a:t>Cluster each observation of this signal under the constraint of not merging different radars in one cluster</a:t>
          </a:r>
          <a:endParaRPr lang="fr-FR" sz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0900770E-1168-40C5-BC90-0A2C31DD7386}" type="parTrans" cxnId="{FAEE226A-BD90-44FD-A6A7-14F8A858A9D4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83B069B-2B6F-4BBE-B7D0-99F6F8AACE62}" type="sibTrans" cxnId="{FAEE226A-BD90-44FD-A6A7-14F8A858A9D4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680F58E-1F74-40CD-B108-6CEB8FE4F95E}">
      <dgm:prSet custT="1"/>
      <dgm:spPr>
        <a:xfrm rot="5400000">
          <a:off x="3509968" y="-366358"/>
          <a:ext cx="1311686" cy="5506452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rPr>
            <a:t>Hierarchical agglomerative clustering combined with optimal transport distance</a:t>
          </a:r>
          <a:endParaRPr lang="fr-FR" sz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01EEB112-652E-4F78-939E-A756EDFD0096}" type="parTrans" cxnId="{2696EB5F-1B49-4D9A-8172-A74320832BCF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60F051-9002-4F94-BE55-F76313286E73}" type="sibTrans" cxnId="{2696EB5F-1B49-4D9A-8172-A74320832BCF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E329F8A-10FA-44A3-BA3F-C65FA0787F8B}">
      <dgm:prSet custT="1"/>
      <dgm:spPr/>
      <dgm:t>
        <a:bodyPr/>
        <a:lstStyle/>
        <a:p>
          <a:pPr>
            <a:buChar char="•"/>
          </a:pPr>
          <a:endParaRPr lang="fr-FR" sz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C1E755A9-0A7C-4184-A8CC-D77A45412206}" type="parTrans" cxnId="{DBD89FFB-4732-4BF3-836A-297BDD74C5AD}">
      <dgm:prSet/>
      <dgm:spPr/>
      <dgm:t>
        <a:bodyPr/>
        <a:lstStyle/>
        <a:p>
          <a:endParaRPr lang="fr-FR"/>
        </a:p>
      </dgm:t>
    </dgm:pt>
    <dgm:pt modelId="{1FF08C1E-959A-41BF-A6FF-85CB1F42DDB2}" type="sibTrans" cxnId="{DBD89FFB-4732-4BF3-836A-297BDD74C5AD}">
      <dgm:prSet/>
      <dgm:spPr/>
      <dgm:t>
        <a:bodyPr/>
        <a:lstStyle/>
        <a:p>
          <a:endParaRPr lang="fr-FR"/>
        </a:p>
      </dgm:t>
    </dgm:pt>
    <dgm:pt modelId="{1089181C-EBF8-4F3F-AF96-8B87B0CA36CD}">
      <dgm:prSet custT="1"/>
      <dgm:spPr/>
      <dgm:t>
        <a:bodyPr/>
        <a:lstStyle/>
        <a:p>
          <a:pPr>
            <a:buNone/>
          </a:pPr>
          <a:endParaRPr lang="fr-FR" sz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4ABB76E3-8569-41F6-B6BF-84D1406BF08F}" type="parTrans" cxnId="{3501384B-B692-49CB-BEE5-F76AF5BF9831}">
      <dgm:prSet/>
      <dgm:spPr/>
      <dgm:t>
        <a:bodyPr/>
        <a:lstStyle/>
        <a:p>
          <a:endParaRPr lang="fr-FR"/>
        </a:p>
      </dgm:t>
    </dgm:pt>
    <dgm:pt modelId="{030F7C46-215F-4555-810E-193CB99C8D3C}" type="sibTrans" cxnId="{3501384B-B692-49CB-BEE5-F76AF5BF9831}">
      <dgm:prSet/>
      <dgm:spPr/>
      <dgm:t>
        <a:bodyPr/>
        <a:lstStyle/>
        <a:p>
          <a:endParaRPr lang="fr-FR"/>
        </a:p>
      </dgm:t>
    </dgm:pt>
    <dgm:pt modelId="{AC11273F-D8EE-45CA-8AE0-4F882049DCD0}">
      <dgm:prSet custT="1"/>
      <dgm:spPr>
        <a:xfrm rot="5400000">
          <a:off x="3509968" y="-366358"/>
          <a:ext cx="1311686" cy="5506452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endParaRPr lang="fr-FR" sz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2F27FF70-4D05-46E3-8323-D57BD66EFCDC}" type="parTrans" cxnId="{CDC9B8D3-C90C-436F-A528-2A9150CD8605}">
      <dgm:prSet/>
      <dgm:spPr/>
      <dgm:t>
        <a:bodyPr/>
        <a:lstStyle/>
        <a:p>
          <a:endParaRPr lang="fr-FR"/>
        </a:p>
      </dgm:t>
    </dgm:pt>
    <dgm:pt modelId="{549AC889-0584-40DA-8243-ECE4DECCBCEB}" type="sibTrans" cxnId="{CDC9B8D3-C90C-436F-A528-2A9150CD8605}">
      <dgm:prSet/>
      <dgm:spPr/>
      <dgm:t>
        <a:bodyPr/>
        <a:lstStyle/>
        <a:p>
          <a:endParaRPr lang="fr-FR"/>
        </a:p>
      </dgm:t>
    </dgm:pt>
    <dgm:pt modelId="{D88DA67E-3233-4170-AA5D-BD7A6ECB4255}" type="pres">
      <dgm:prSet presAssocID="{776C8D35-C925-4B78-8BD4-A0245E8CA4FD}" presName="linearFlow" presStyleCnt="0">
        <dgm:presLayoutVars>
          <dgm:dir/>
          <dgm:animLvl val="lvl"/>
          <dgm:resizeHandles val="exact"/>
        </dgm:presLayoutVars>
      </dgm:prSet>
      <dgm:spPr/>
    </dgm:pt>
    <dgm:pt modelId="{1956F7C0-A74A-4C43-A332-DAE19972E8A6}" type="pres">
      <dgm:prSet presAssocID="{C9D8EE4F-F58D-4351-8E4C-1A706AF70CA8}" presName="composite" presStyleCnt="0"/>
      <dgm:spPr/>
    </dgm:pt>
    <dgm:pt modelId="{10B3A7C1-0211-4E3C-81B5-44A8E77A418A}" type="pres">
      <dgm:prSet presAssocID="{C9D8EE4F-F58D-4351-8E4C-1A706AF70CA8}" presName="parTx" presStyleLbl="node1" presStyleIdx="0" presStyleCnt="2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  <dgm:pt modelId="{33AC5B50-31CB-4BCE-AA58-DA492CFC3C36}" type="pres">
      <dgm:prSet presAssocID="{C9D8EE4F-F58D-4351-8E4C-1A706AF70CA8}" presName="parSh" presStyleLbl="node1" presStyleIdx="0" presStyleCnt="2"/>
      <dgm:spPr/>
    </dgm:pt>
    <dgm:pt modelId="{1FA28F10-EE53-4046-A7D7-8CCAF24B7BD1}" type="pres">
      <dgm:prSet presAssocID="{C9D8EE4F-F58D-4351-8E4C-1A706AF70CA8}" presName="desTx" presStyleLbl="fgAcc1" presStyleIdx="0" presStyleCnt="2" custScaleY="105232">
        <dgm:presLayoutVars>
          <dgm:bulletEnabled val="1"/>
        </dgm:presLayoutVars>
      </dgm:prSet>
      <dgm:spPr>
        <a:prstGeom prst="round2SameRect">
          <a:avLst/>
        </a:prstGeom>
      </dgm:spPr>
    </dgm:pt>
    <dgm:pt modelId="{1569326D-EAD1-488F-96A5-7E7AE3A998D8}" type="pres">
      <dgm:prSet presAssocID="{FE900175-DBAE-4259-B402-B68AD4B0B3F4}" presName="sibTrans" presStyleLbl="sibTrans2D1" presStyleIdx="0" presStyleCnt="1"/>
      <dgm:spPr/>
    </dgm:pt>
    <dgm:pt modelId="{F935E311-E7CD-4047-B879-3CD1121662A4}" type="pres">
      <dgm:prSet presAssocID="{FE900175-DBAE-4259-B402-B68AD4B0B3F4}" presName="connTx" presStyleLbl="sibTrans2D1" presStyleIdx="0" presStyleCnt="1"/>
      <dgm:spPr/>
    </dgm:pt>
    <dgm:pt modelId="{3F6913DC-96B9-40EF-967A-B8984E5BFB96}" type="pres">
      <dgm:prSet presAssocID="{3C826307-C979-4230-A607-5D8431FA6670}" presName="composite" presStyleCnt="0"/>
      <dgm:spPr/>
    </dgm:pt>
    <dgm:pt modelId="{6BE09510-3AAE-4CAE-9C76-C55C9EB7602D}" type="pres">
      <dgm:prSet presAssocID="{3C826307-C979-4230-A607-5D8431FA6670}" presName="parTx" presStyleLbl="node1" presStyleIdx="0" presStyleCnt="2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  <dgm:pt modelId="{AF0B9A31-6A56-47D8-BC75-1921471E2489}" type="pres">
      <dgm:prSet presAssocID="{3C826307-C979-4230-A607-5D8431FA6670}" presName="parSh" presStyleLbl="node1" presStyleIdx="1" presStyleCnt="2"/>
      <dgm:spPr/>
    </dgm:pt>
    <dgm:pt modelId="{4768C460-B16B-4A0B-BC4D-0A6416846D13}" type="pres">
      <dgm:prSet presAssocID="{3C826307-C979-4230-A607-5D8431FA6670}" presName="desTx" presStyleLbl="fgAcc1" presStyleIdx="1" presStyleCnt="2" custScaleY="105232">
        <dgm:presLayoutVars>
          <dgm:bulletEnabled val="1"/>
        </dgm:presLayoutVars>
      </dgm:prSet>
      <dgm:spPr>
        <a:prstGeom prst="round2SameRect">
          <a:avLst/>
        </a:prstGeom>
      </dgm:spPr>
    </dgm:pt>
  </dgm:ptLst>
  <dgm:cxnLst>
    <dgm:cxn modelId="{A2DA5029-D4AF-4F13-9E22-9B900CA178D1}" type="presOf" srcId="{C9D8EE4F-F58D-4351-8E4C-1A706AF70CA8}" destId="{10B3A7C1-0211-4E3C-81B5-44A8E77A418A}" srcOrd="0" destOrd="0" presId="urn:microsoft.com/office/officeart/2005/8/layout/process3"/>
    <dgm:cxn modelId="{AA87153D-7F0C-49C6-BDDA-77F85088B7E9}" type="presOf" srcId="{C9D8EE4F-F58D-4351-8E4C-1A706AF70CA8}" destId="{33AC5B50-31CB-4BCE-AA58-DA492CFC3C36}" srcOrd="1" destOrd="0" presId="urn:microsoft.com/office/officeart/2005/8/layout/process3"/>
    <dgm:cxn modelId="{E8160C5B-D8BA-4CF2-BBAA-F6DC5992AA2C}" type="presOf" srcId="{AC11273F-D8EE-45CA-8AE0-4F882049DCD0}" destId="{4768C460-B16B-4A0B-BC4D-0A6416846D13}" srcOrd="0" destOrd="1" presId="urn:microsoft.com/office/officeart/2005/8/layout/process3"/>
    <dgm:cxn modelId="{1BA1205C-2937-4BA1-96F8-A0185C87CD5F}" type="presOf" srcId="{8680F58E-1F74-40CD-B108-6CEB8FE4F95E}" destId="{4768C460-B16B-4A0B-BC4D-0A6416846D13}" srcOrd="0" destOrd="0" presId="urn:microsoft.com/office/officeart/2005/8/layout/process3"/>
    <dgm:cxn modelId="{2696EB5F-1B49-4D9A-8172-A74320832BCF}" srcId="{3C826307-C979-4230-A607-5D8431FA6670}" destId="{8680F58E-1F74-40CD-B108-6CEB8FE4F95E}" srcOrd="0" destOrd="0" parTransId="{01EEB112-652E-4F78-939E-A756EDFD0096}" sibTransId="{8D60F051-9002-4F94-BE55-F76313286E73}"/>
    <dgm:cxn modelId="{F1CAC466-6C1F-4224-9574-2CA30A785B79}" srcId="{776C8D35-C925-4B78-8BD4-A0245E8CA4FD}" destId="{3C826307-C979-4230-A607-5D8431FA6670}" srcOrd="1" destOrd="0" parTransId="{5D5A0C2E-FF7B-43C6-AA77-7CE1AB804109}" sibTransId="{BA9CED16-12B6-4A22-83BC-B43F376CF4E6}"/>
    <dgm:cxn modelId="{FAEE226A-BD90-44FD-A6A7-14F8A858A9D4}" srcId="{C9D8EE4F-F58D-4351-8E4C-1A706AF70CA8}" destId="{8C4E9DC3-8CA0-450E-884C-B1BD3762AC7D}" srcOrd="0" destOrd="0" parTransId="{0900770E-1168-40C5-BC90-0A2C31DD7386}" sibTransId="{483B069B-2B6F-4BBE-B7D0-99F6F8AACE62}"/>
    <dgm:cxn modelId="{3501384B-B692-49CB-BEE5-F76AF5BF9831}" srcId="{3C826307-C979-4230-A607-5D8431FA6670}" destId="{1089181C-EBF8-4F3F-AF96-8B87B0CA36CD}" srcOrd="2" destOrd="0" parTransId="{4ABB76E3-8569-41F6-B6BF-84D1406BF08F}" sibTransId="{030F7C46-215F-4555-810E-193CB99C8D3C}"/>
    <dgm:cxn modelId="{11949350-3103-4643-95E3-0FF6CCF20881}" type="presOf" srcId="{3C826307-C979-4230-A607-5D8431FA6670}" destId="{AF0B9A31-6A56-47D8-BC75-1921471E2489}" srcOrd="1" destOrd="0" presId="urn:microsoft.com/office/officeart/2005/8/layout/process3"/>
    <dgm:cxn modelId="{4ED05854-E9B8-4FDE-94A0-7E813C987E79}" type="presOf" srcId="{8C4E9DC3-8CA0-450E-884C-B1BD3762AC7D}" destId="{1FA28F10-EE53-4046-A7D7-8CCAF24B7BD1}" srcOrd="0" destOrd="0" presId="urn:microsoft.com/office/officeart/2005/8/layout/process3"/>
    <dgm:cxn modelId="{013CE47D-4703-4FF5-87DB-FC3A29BE05C1}" type="presOf" srcId="{5E329F8A-10FA-44A3-BA3F-C65FA0787F8B}" destId="{1FA28F10-EE53-4046-A7D7-8CCAF24B7BD1}" srcOrd="0" destOrd="1" presId="urn:microsoft.com/office/officeart/2005/8/layout/process3"/>
    <dgm:cxn modelId="{691E888E-111A-43C5-B62C-1B2F27577D2B}" type="presOf" srcId="{FE900175-DBAE-4259-B402-B68AD4B0B3F4}" destId="{F935E311-E7CD-4047-B879-3CD1121662A4}" srcOrd="1" destOrd="0" presId="urn:microsoft.com/office/officeart/2005/8/layout/process3"/>
    <dgm:cxn modelId="{07A702A2-53A7-411D-9484-09FD88203655}" type="presOf" srcId="{1089181C-EBF8-4F3F-AF96-8B87B0CA36CD}" destId="{4768C460-B16B-4A0B-BC4D-0A6416846D13}" srcOrd="0" destOrd="2" presId="urn:microsoft.com/office/officeart/2005/8/layout/process3"/>
    <dgm:cxn modelId="{352765BA-077C-466D-B0D7-8E8DB2052A61}" srcId="{776C8D35-C925-4B78-8BD4-A0245E8CA4FD}" destId="{C9D8EE4F-F58D-4351-8E4C-1A706AF70CA8}" srcOrd="0" destOrd="0" parTransId="{7194B44B-34E5-4721-9DD5-A1D963DD8194}" sibTransId="{FE900175-DBAE-4259-B402-B68AD4B0B3F4}"/>
    <dgm:cxn modelId="{422756BE-2E16-480F-BC80-A208DB2E87CB}" type="presOf" srcId="{3C826307-C979-4230-A607-5D8431FA6670}" destId="{6BE09510-3AAE-4CAE-9C76-C55C9EB7602D}" srcOrd="0" destOrd="0" presId="urn:microsoft.com/office/officeart/2005/8/layout/process3"/>
    <dgm:cxn modelId="{441DE4D2-1D1D-4019-AD2E-DB21CC435E4A}" type="presOf" srcId="{776C8D35-C925-4B78-8BD4-A0245E8CA4FD}" destId="{D88DA67E-3233-4170-AA5D-BD7A6ECB4255}" srcOrd="0" destOrd="0" presId="urn:microsoft.com/office/officeart/2005/8/layout/process3"/>
    <dgm:cxn modelId="{CDC9B8D3-C90C-436F-A528-2A9150CD8605}" srcId="{3C826307-C979-4230-A607-5D8431FA6670}" destId="{AC11273F-D8EE-45CA-8AE0-4F882049DCD0}" srcOrd="1" destOrd="0" parTransId="{2F27FF70-4D05-46E3-8323-D57BD66EFCDC}" sibTransId="{549AC889-0584-40DA-8243-ECE4DECCBCEB}"/>
    <dgm:cxn modelId="{A76256F6-1835-4B4D-9674-BCBF4F04B75C}" type="presOf" srcId="{FE900175-DBAE-4259-B402-B68AD4B0B3F4}" destId="{1569326D-EAD1-488F-96A5-7E7AE3A998D8}" srcOrd="0" destOrd="0" presId="urn:microsoft.com/office/officeart/2005/8/layout/process3"/>
    <dgm:cxn modelId="{DBD89FFB-4732-4BF3-836A-297BDD74C5AD}" srcId="{C9D8EE4F-F58D-4351-8E4C-1A706AF70CA8}" destId="{5E329F8A-10FA-44A3-BA3F-C65FA0787F8B}" srcOrd="1" destOrd="0" parTransId="{C1E755A9-0A7C-4184-A8CC-D77A45412206}" sibTransId="{1FF08C1E-959A-41BF-A6FF-85CB1F42DDB2}"/>
    <dgm:cxn modelId="{A10E7748-7917-4E58-8EA4-0FE4A590D8E3}" type="presParOf" srcId="{D88DA67E-3233-4170-AA5D-BD7A6ECB4255}" destId="{1956F7C0-A74A-4C43-A332-DAE19972E8A6}" srcOrd="0" destOrd="0" presId="urn:microsoft.com/office/officeart/2005/8/layout/process3"/>
    <dgm:cxn modelId="{49D290BF-2AD9-4144-9E33-F22C8964E4A0}" type="presParOf" srcId="{1956F7C0-A74A-4C43-A332-DAE19972E8A6}" destId="{10B3A7C1-0211-4E3C-81B5-44A8E77A418A}" srcOrd="0" destOrd="0" presId="urn:microsoft.com/office/officeart/2005/8/layout/process3"/>
    <dgm:cxn modelId="{1ADFB7A5-8801-45AF-908D-6A91A821E31B}" type="presParOf" srcId="{1956F7C0-A74A-4C43-A332-DAE19972E8A6}" destId="{33AC5B50-31CB-4BCE-AA58-DA492CFC3C36}" srcOrd="1" destOrd="0" presId="urn:microsoft.com/office/officeart/2005/8/layout/process3"/>
    <dgm:cxn modelId="{B1BA960E-2D37-4859-857B-4A50B66A16A3}" type="presParOf" srcId="{1956F7C0-A74A-4C43-A332-DAE19972E8A6}" destId="{1FA28F10-EE53-4046-A7D7-8CCAF24B7BD1}" srcOrd="2" destOrd="0" presId="urn:microsoft.com/office/officeart/2005/8/layout/process3"/>
    <dgm:cxn modelId="{AE9B3CC4-E7A4-4D7B-BFAE-75F2422B1B88}" type="presParOf" srcId="{D88DA67E-3233-4170-AA5D-BD7A6ECB4255}" destId="{1569326D-EAD1-488F-96A5-7E7AE3A998D8}" srcOrd="1" destOrd="0" presId="urn:microsoft.com/office/officeart/2005/8/layout/process3"/>
    <dgm:cxn modelId="{3F175235-D3B1-4104-BC96-2472BF34E1B2}" type="presParOf" srcId="{1569326D-EAD1-488F-96A5-7E7AE3A998D8}" destId="{F935E311-E7CD-4047-B879-3CD1121662A4}" srcOrd="0" destOrd="0" presId="urn:microsoft.com/office/officeart/2005/8/layout/process3"/>
    <dgm:cxn modelId="{4E91B817-D599-41D3-9D83-8A5F4F804BB7}" type="presParOf" srcId="{D88DA67E-3233-4170-AA5D-BD7A6ECB4255}" destId="{3F6913DC-96B9-40EF-967A-B8984E5BFB96}" srcOrd="2" destOrd="0" presId="urn:microsoft.com/office/officeart/2005/8/layout/process3"/>
    <dgm:cxn modelId="{3E1091BA-B970-4879-9371-82DB82F366F1}" type="presParOf" srcId="{3F6913DC-96B9-40EF-967A-B8984E5BFB96}" destId="{6BE09510-3AAE-4CAE-9C76-C55C9EB7602D}" srcOrd="0" destOrd="0" presId="urn:microsoft.com/office/officeart/2005/8/layout/process3"/>
    <dgm:cxn modelId="{85B10FFF-6D36-4A4B-A3E5-286FD08BB0EF}" type="presParOf" srcId="{3F6913DC-96B9-40EF-967A-B8984E5BFB96}" destId="{AF0B9A31-6A56-47D8-BC75-1921471E2489}" srcOrd="1" destOrd="0" presId="urn:microsoft.com/office/officeart/2005/8/layout/process3"/>
    <dgm:cxn modelId="{E06D20C9-ABD5-44DE-B5A2-2EF2B43A3158}" type="presParOf" srcId="{3F6913DC-96B9-40EF-967A-B8984E5BFB96}" destId="{4768C460-B16B-4A0B-BC4D-0A6416846D13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AC5B50-31CB-4BCE-AA58-DA492CFC3C36}">
      <dsp:nvSpPr>
        <dsp:cNvPr id="0" name=""/>
        <dsp:cNvSpPr/>
      </dsp:nvSpPr>
      <dsp:spPr>
        <a:xfrm>
          <a:off x="3160" y="29444"/>
          <a:ext cx="2712903" cy="1209600"/>
        </a:xfrm>
        <a:prstGeom prst="roundRect">
          <a:avLst>
            <a:gd name="adj" fmla="val 10000"/>
          </a:avLst>
        </a:prstGeom>
        <a:solidFill>
          <a:srgbClr val="90BB23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dirty="0" err="1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tep</a:t>
          </a:r>
          <a:r>
            <a:rPr lang="fr-FR" sz="1100" b="1" kern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1: Clustering</a:t>
          </a:r>
        </a:p>
      </dsp:txBody>
      <dsp:txXfrm>
        <a:off x="406360" y="29444"/>
        <a:ext cx="1906503" cy="806400"/>
      </dsp:txXfrm>
    </dsp:sp>
    <dsp:sp modelId="{1FA28F10-EE53-4046-A7D7-8CCAF24B7BD1}">
      <dsp:nvSpPr>
        <dsp:cNvPr id="0" name=""/>
        <dsp:cNvSpPr/>
      </dsp:nvSpPr>
      <dsp:spPr>
        <a:xfrm>
          <a:off x="558815" y="793653"/>
          <a:ext cx="2712903" cy="1697181"/>
        </a:xfrm>
        <a:prstGeom prst="round2Same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rPr>
            <a:t>Cluster each observation of this signal under the constraint of not merging different radars in one cluster</a:t>
          </a:r>
          <a:endParaRPr lang="fr-FR" sz="12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641665" y="876503"/>
        <a:ext cx="2547203" cy="1614331"/>
      </dsp:txXfrm>
    </dsp:sp>
    <dsp:sp modelId="{1569326D-EAD1-488F-96A5-7E7AE3A998D8}">
      <dsp:nvSpPr>
        <dsp:cNvPr id="0" name=""/>
        <dsp:cNvSpPr/>
      </dsp:nvSpPr>
      <dsp:spPr>
        <a:xfrm>
          <a:off x="3127330" y="94927"/>
          <a:ext cx="871884" cy="6754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27330" y="230014"/>
        <a:ext cx="669254" cy="405260"/>
      </dsp:txXfrm>
    </dsp:sp>
    <dsp:sp modelId="{AF0B9A31-6A56-47D8-BC75-1921471E2489}">
      <dsp:nvSpPr>
        <dsp:cNvPr id="0" name=""/>
        <dsp:cNvSpPr/>
      </dsp:nvSpPr>
      <dsp:spPr>
        <a:xfrm>
          <a:off x="4361129" y="29444"/>
          <a:ext cx="2712903" cy="1209600"/>
        </a:xfrm>
        <a:prstGeom prst="roundRect">
          <a:avLst>
            <a:gd name="adj" fmla="val 10000"/>
          </a:avLst>
        </a:prstGeom>
        <a:solidFill>
          <a:srgbClr val="90BB23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dirty="0" err="1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tep</a:t>
          </a:r>
          <a:r>
            <a:rPr lang="fr-FR" sz="1100" b="1" kern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2: Cluster fusion</a:t>
          </a:r>
        </a:p>
      </dsp:txBody>
      <dsp:txXfrm>
        <a:off x="4764329" y="29444"/>
        <a:ext cx="1906503" cy="806400"/>
      </dsp:txXfrm>
    </dsp:sp>
    <dsp:sp modelId="{4768C460-B16B-4A0B-BC4D-0A6416846D13}">
      <dsp:nvSpPr>
        <dsp:cNvPr id="0" name=""/>
        <dsp:cNvSpPr/>
      </dsp:nvSpPr>
      <dsp:spPr>
        <a:xfrm>
          <a:off x="4916784" y="793653"/>
          <a:ext cx="2712903" cy="1697181"/>
        </a:xfrm>
        <a:prstGeom prst="round2Same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90BB23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rPr>
            <a:t>Hierarchical agglomerative clustering combined with optimal transport distance</a:t>
          </a:r>
          <a:endParaRPr lang="fr-FR" sz="12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fr-FR" sz="12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4999634" y="876503"/>
        <a:ext cx="2547203" cy="16143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013478" y="9279028"/>
            <a:ext cx="619399" cy="4045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N°›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AddNotifier#2"/>
          <p:cNvSpPr txBox="1">
            <a:spLocks noChangeArrowheads="1"/>
          </p:cNvSpPr>
          <p:nvPr/>
        </p:nvSpPr>
        <p:spPr bwMode="auto">
          <a:xfrm>
            <a:off x="227150" y="9292020"/>
            <a:ext cx="5868361" cy="435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Worldline, </a:t>
            </a:r>
            <a:r>
              <a:rPr lang="en-US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Unify, </a:t>
            </a:r>
            <a:r>
              <a:rPr lang="en-US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6. © 2016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60713" y="105078"/>
            <a:ext cx="1401984" cy="559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691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6013478" y="9279028"/>
            <a:ext cx="619399" cy="4045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N°›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AddNotifier#3"/>
          <p:cNvSpPr txBox="1">
            <a:spLocks noChangeArrowheads="1"/>
          </p:cNvSpPr>
          <p:nvPr/>
        </p:nvSpPr>
        <p:spPr bwMode="auto">
          <a:xfrm>
            <a:off x="227150" y="9292020"/>
            <a:ext cx="5868361" cy="435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Worldline, </a:t>
            </a:r>
            <a:r>
              <a:rPr lang="en-US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Unify, </a:t>
            </a:r>
            <a:r>
              <a:rPr lang="en-US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6. © 2016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26798" r="5868" b="27271"/>
          <a:stretch/>
        </p:blipFill>
        <p:spPr>
          <a:xfrm>
            <a:off x="5260713" y="105078"/>
            <a:ext cx="1401984" cy="559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528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9BF997-9B5F-4A82-AF31-6E87F25749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872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4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991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5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71824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8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05328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30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811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31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6333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32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7359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36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261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0.tif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0.tiff"/><Relationship Id="rId4" Type="http://schemas.openxmlformats.org/officeDocument/2006/relationships/image" Target="../media/image2.pn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0.tiff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0.tiff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0.tif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0.tiff"/><Relationship Id="rId4" Type="http://schemas.openxmlformats.org/officeDocument/2006/relationships/image" Target="../media/image8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0.tif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0.tiff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if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779" y="1203598"/>
            <a:ext cx="8309346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2931" y="2320746"/>
            <a:ext cx="8312194" cy="11151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the sub title</a:t>
            </a:r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217612" y="3723878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7/01/2018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3830451" y="4646845"/>
            <a:ext cx="148309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GB" sz="800" b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742003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605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44701257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364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74174462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364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79704773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76091795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20472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81735991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4536137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3905445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59617619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4059459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2729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4298859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236049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" y="-19613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85502626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69426689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55976" y="1995686"/>
            <a:ext cx="4680520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150330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15779" y="1203598"/>
            <a:ext cx="4950000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GB" noProof="0" dirty="0"/>
              <a:t>Click to edit the title</a:t>
            </a:r>
          </a:p>
        </p:txBody>
      </p:sp>
      <p:sp>
        <p:nvSpPr>
          <p:cNvPr id="7" name="AddNotifier#1"/>
          <p:cNvSpPr txBox="1">
            <a:spLocks noChangeArrowheads="1"/>
          </p:cNvSpPr>
          <p:nvPr userDrawn="1"/>
        </p:nvSpPr>
        <p:spPr bwMode="auto">
          <a:xfrm>
            <a:off x="234016" y="4240618"/>
            <a:ext cx="4914048" cy="63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700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Worldline, </a:t>
            </a:r>
            <a:r>
              <a:rPr lang="en-US" sz="700" kern="12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700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Unify, </a:t>
            </a:r>
            <a:r>
              <a:rPr lang="en-US" sz="700" kern="12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700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6. © 2016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7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2605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k-SK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4"/>
          </p:nvPr>
        </p:nvSpPr>
        <p:spPr>
          <a:xfrm>
            <a:off x="271613" y="1809750"/>
            <a:ext cx="2159001" cy="216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5"/>
          </p:nvPr>
        </p:nvSpPr>
        <p:spPr>
          <a:xfrm>
            <a:off x="2425427" y="1809750"/>
            <a:ext cx="2159001" cy="216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6"/>
          </p:nvPr>
        </p:nvSpPr>
        <p:spPr>
          <a:xfrm>
            <a:off x="4579250" y="1809750"/>
            <a:ext cx="2159001" cy="216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27"/>
          </p:nvPr>
        </p:nvSpPr>
        <p:spPr>
          <a:xfrm>
            <a:off x="6733043" y="1809750"/>
            <a:ext cx="2159001" cy="216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8"/>
          </p:nvPr>
        </p:nvSpPr>
        <p:spPr>
          <a:xfrm>
            <a:off x="271649" y="1200150"/>
            <a:ext cx="7881797" cy="609600"/>
          </a:xfrm>
        </p:spPr>
        <p:txBody>
          <a:bodyPr lIns="134967" tIns="70182" rIns="134967" bIns="70182"/>
          <a:lstStyle>
            <a:lvl1pPr algn="l">
              <a:lnSpc>
                <a:spcPct val="120000"/>
              </a:lnSpc>
              <a:spcAft>
                <a:spcPts val="600"/>
              </a:spcAft>
              <a:defRPr/>
            </a:lvl1pPr>
            <a:lvl2pPr algn="ctr">
              <a:lnSpc>
                <a:spcPct val="120000"/>
              </a:lnSpc>
              <a:spcAft>
                <a:spcPts val="600"/>
              </a:spcAft>
              <a:defRPr/>
            </a:lvl2pPr>
            <a:lvl3pPr algn="ctr">
              <a:lnSpc>
                <a:spcPct val="120000"/>
              </a:lnSpc>
              <a:spcAft>
                <a:spcPts val="600"/>
              </a:spcAft>
              <a:defRPr/>
            </a:lvl3pPr>
            <a:lvl4pPr algn="ctr">
              <a:lnSpc>
                <a:spcPct val="120000"/>
              </a:lnSpc>
              <a:spcAft>
                <a:spcPts val="600"/>
              </a:spcAft>
              <a:defRPr/>
            </a:lvl4pPr>
            <a:lvl5pPr algn="ctr"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5496468-0413-4731-BC8D-F40F8207B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77920" y="4709602"/>
            <a:ext cx="1346844" cy="441908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143963" tIns="134997" rIns="143963" bIns="134997" anchor="ctr" anchorCtr="1">
            <a:spAutoFit/>
          </a:bodyPr>
          <a:lstStyle>
            <a:lvl1pPr>
              <a:defRPr lang="en-US" sz="1100">
                <a:ln>
                  <a:noFill/>
                </a:ln>
                <a:solidFill>
                  <a:schemeClr val="accent2"/>
                </a:solidFill>
                <a:latin typeface="Roboto Light"/>
                <a:cs typeface="Roboto Light"/>
              </a:defRPr>
            </a:lvl1pPr>
          </a:lstStyle>
          <a:p>
            <a:pPr defTabSz="685783"/>
            <a:r>
              <a:rPr lang="fr-FR" dirty="0"/>
              <a:t> - </a:t>
            </a:r>
            <a:fld id="{77513DED-9F41-6D4C-AADB-00EAAC4B4386}" type="slidenum">
              <a:rPr lang="fr-FR" smtClean="0"/>
              <a:pPr defTabSz="685783"/>
              <a:t>‹N°›</a:t>
            </a:fld>
            <a:r>
              <a:rPr lang="fr-FR" dirty="0"/>
              <a:t> -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421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414" y="485778"/>
            <a:ext cx="8229600" cy="577453"/>
          </a:xfrm>
        </p:spPr>
        <p:txBody>
          <a:bodyPr>
            <a:normAutofit/>
          </a:bodyPr>
          <a:lstStyle>
            <a:lvl1pPr algn="l">
              <a:defRPr sz="16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object 12"/>
          <p:cNvSpPr/>
          <p:nvPr userDrawn="1"/>
        </p:nvSpPr>
        <p:spPr>
          <a:xfrm>
            <a:off x="10" y="388875"/>
            <a:ext cx="292963" cy="0"/>
          </a:xfrm>
          <a:custGeom>
            <a:avLst/>
            <a:gdLst/>
            <a:ahLst/>
            <a:cxnLst/>
            <a:rect l="l" t="t" r="r" b="b"/>
            <a:pathLst>
              <a:path w="293370">
                <a:moveTo>
                  <a:pt x="0" y="0"/>
                </a:moveTo>
                <a:lnTo>
                  <a:pt x="29326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456958"/>
            <a:endParaRPr>
              <a:solidFill>
                <a:prstClr val="black"/>
              </a:solidFill>
            </a:endParaRPr>
          </a:p>
        </p:txBody>
      </p:sp>
      <p:pic>
        <p:nvPicPr>
          <p:cNvPr id="8" name="Picture 26" descr="Logo_CMYK 3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6402" y="4631191"/>
            <a:ext cx="843955" cy="44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99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losing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3203848" y="1995686"/>
            <a:ext cx="5472608" cy="1080120"/>
          </a:xfrm>
          <a:prstGeom prst="rect">
            <a:avLst/>
          </a:prstGeom>
          <a:ln w="15874">
            <a:noFill/>
          </a:ln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0" kern="1200" baseline="0">
                <a:solidFill>
                  <a:schemeClr val="bg1"/>
                </a:solidFill>
                <a:latin typeface="Stag Book" pitchFamily="50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Verdana" panose="020B0604030504040204" pitchFamily="34" charset="0"/>
              </a:rPr>
              <a:t>Click to add chapter title 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21106" y="0"/>
            <a:ext cx="9165105" cy="5143500"/>
            <a:chOff x="-21106" y="0"/>
            <a:chExt cx="9165105" cy="5143500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5"/>
            <a:stretch/>
          </p:blipFill>
          <p:spPr>
            <a:xfrm>
              <a:off x="-21106" y="0"/>
              <a:ext cx="9165105" cy="5143500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 userDrawn="1"/>
          </p:nvSpPr>
          <p:spPr>
            <a:xfrm>
              <a:off x="-21106" y="0"/>
              <a:ext cx="9163751" cy="5143500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70362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1046562"/>
            <a:ext cx="4732337" cy="110251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fr-FR" noProof="0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3" y="2215754"/>
            <a:ext cx="4732337" cy="1114425"/>
          </a:xfrm>
        </p:spPr>
        <p:txBody>
          <a:bodyPr/>
          <a:lstStyle>
            <a:lvl1pPr marL="0" indent="0">
              <a:buFont typeface="Lucida Sans Unicode" charset="0"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0929787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726718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021556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66718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9701" y="1091805"/>
            <a:ext cx="4297364" cy="347424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>
                <a:latin typeface="Verdana"/>
                <a:cs typeface="Verdana"/>
              </a:defRPr>
            </a:lvl3pPr>
            <a:lvl4pPr>
              <a:defRPr sz="1350">
                <a:latin typeface="Verdana"/>
                <a:cs typeface="Verdana"/>
              </a:defRPr>
            </a:lvl4pPr>
            <a:lvl5pPr>
              <a:defRPr sz="1350">
                <a:latin typeface="Verdana"/>
                <a:cs typeface="Verdana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89463" y="1091805"/>
            <a:ext cx="4297363" cy="347424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>
                <a:latin typeface="Verdana"/>
                <a:cs typeface="Verdana"/>
              </a:defRPr>
            </a:lvl3pPr>
            <a:lvl4pPr>
              <a:defRPr sz="1350">
                <a:latin typeface="Verdana"/>
                <a:cs typeface="Verdana"/>
              </a:defRPr>
            </a:lvl4pPr>
            <a:lvl5pPr>
              <a:defRPr sz="1350">
                <a:latin typeface="Verdana"/>
                <a:cs typeface="Verdana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0097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605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87260287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500">
                <a:latin typeface="Verdana"/>
                <a:cs typeface="Verdana"/>
              </a:defRPr>
            </a:lvl1pPr>
            <a:lvl2pPr>
              <a:defRPr sz="1500">
                <a:latin typeface="Verdana"/>
                <a:cs typeface="Verdana"/>
              </a:defRPr>
            </a:lvl2pPr>
            <a:lvl3pPr>
              <a:defRPr sz="1350">
                <a:latin typeface="Verdana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151335"/>
            <a:ext cx="4041776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631156"/>
            <a:ext cx="4041776" cy="2963466"/>
          </a:xfrm>
        </p:spPr>
        <p:txBody>
          <a:bodyPr/>
          <a:lstStyle>
            <a:lvl1pPr>
              <a:defRPr sz="1500">
                <a:latin typeface="Verdana"/>
                <a:cs typeface="Verdana"/>
              </a:defRPr>
            </a:lvl1pPr>
            <a:lvl2pPr>
              <a:defRPr sz="1500">
                <a:latin typeface="Verdana"/>
                <a:cs typeface="Verdana"/>
              </a:defRPr>
            </a:lvl2pPr>
            <a:lvl3pPr>
              <a:defRPr sz="1350">
                <a:latin typeface="Verdana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3605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840582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57236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4787"/>
            <a:ext cx="3008313" cy="72710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1500"/>
            </a:lvl1pPr>
            <a:lvl2pPr>
              <a:defRPr sz="1500">
                <a:latin typeface="Verdana"/>
                <a:cs typeface="Verdana"/>
              </a:defRPr>
            </a:lvl2pPr>
            <a:lvl3pPr>
              <a:defRPr sz="1500">
                <a:latin typeface="Verdana"/>
                <a:cs typeface="Verdana"/>
              </a:defRPr>
            </a:lvl3pPr>
            <a:lvl4pPr>
              <a:defRPr sz="1500">
                <a:latin typeface="Verdana"/>
                <a:cs typeface="Verdana"/>
              </a:defRPr>
            </a:lvl4pPr>
            <a:lvl5pPr>
              <a:defRPr sz="1500">
                <a:latin typeface="Verdana"/>
                <a:cs typeface="Verdana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076327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5774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/>
              <a:t>Click icon to add picture</a:t>
            </a:r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48178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3219711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700839" y="282180"/>
            <a:ext cx="2185988" cy="42838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9700" y="282180"/>
            <a:ext cx="6408739" cy="4283869"/>
          </a:xfrm>
        </p:spPr>
        <p:txBody>
          <a:bodyPr vert="eaVert"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38662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85"/>
          <a:stretch/>
        </p:blipFill>
        <p:spPr>
          <a:xfrm>
            <a:off x="-21106" y="0"/>
            <a:ext cx="9165105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779" y="1203598"/>
            <a:ext cx="8309346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2931" y="2320746"/>
            <a:ext cx="8312194" cy="11151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300"/>
          <a:stretch/>
        </p:blipFill>
        <p:spPr bwMode="auto">
          <a:xfrm>
            <a:off x="7485318" y="4372678"/>
            <a:ext cx="1497935" cy="551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612" y="4708984"/>
            <a:ext cx="3120894" cy="323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02331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 slide #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3203848" y="1995686"/>
            <a:ext cx="5472608" cy="1080120"/>
          </a:xfrm>
          <a:ln w="15874">
            <a:noFill/>
          </a:ln>
        </p:spPr>
        <p:txBody>
          <a:bodyPr lIns="0" tIns="0" rIns="0" bIns="0" anchor="b" anchorCtr="0"/>
          <a:lstStyle>
            <a:lvl1pPr>
              <a:defRPr sz="3000" b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-21106" y="0"/>
            <a:ext cx="9165105" cy="5143500"/>
            <a:chOff x="-21106" y="0"/>
            <a:chExt cx="9165105" cy="5143500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5"/>
            <a:stretch/>
          </p:blipFill>
          <p:spPr>
            <a:xfrm>
              <a:off x="-21106" y="0"/>
              <a:ext cx="9165105" cy="5143500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 userDrawn="1"/>
          </p:nvSpPr>
          <p:spPr>
            <a:xfrm>
              <a:off x="-21106" y="0"/>
              <a:ext cx="9163751" cy="5143500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3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57687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 slide #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21106" y="0"/>
            <a:ext cx="9165105" cy="5143500"/>
            <a:chOff x="-21106" y="0"/>
            <a:chExt cx="9165105" cy="51435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5"/>
            <a:stretch/>
          </p:blipFill>
          <p:spPr>
            <a:xfrm>
              <a:off x="-21106" y="0"/>
              <a:ext cx="9165105" cy="5143500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-21106" y="0"/>
              <a:ext cx="9163751" cy="5143500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605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  <a:ln w="15874">
            <a:noFill/>
          </a:ln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8669535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816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72748101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 slide #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-21106" y="0"/>
            <a:ext cx="9165105" cy="5143500"/>
            <a:chOff x="-21106" y="0"/>
            <a:chExt cx="9165105" cy="5143500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5"/>
            <a:stretch/>
          </p:blipFill>
          <p:spPr>
            <a:xfrm>
              <a:off x="-21106" y="0"/>
              <a:ext cx="9165105" cy="5143500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 userDrawn="1"/>
          </p:nvSpPr>
          <p:spPr>
            <a:xfrm>
              <a:off x="-21106" y="0"/>
              <a:ext cx="9163751" cy="5143500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" y="-19613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  <a:ln w="15874">
            <a:noFill/>
          </a:ln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61628939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 slide #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-21106" y="0"/>
            <a:ext cx="9165105" cy="5143500"/>
            <a:chOff x="-21106" y="0"/>
            <a:chExt cx="9165105" cy="5143500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5"/>
            <a:stretch/>
          </p:blipFill>
          <p:spPr>
            <a:xfrm>
              <a:off x="-21106" y="0"/>
              <a:ext cx="9165105" cy="5143500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 userDrawn="1"/>
          </p:nvSpPr>
          <p:spPr>
            <a:xfrm>
              <a:off x="-21106" y="0"/>
              <a:ext cx="9163751" cy="5143500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605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  <a:ln w="15874">
            <a:noFill/>
          </a:ln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026880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028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534631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816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583176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028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414356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364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313170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364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313170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780625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5072469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20472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2729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55976" y="1995686"/>
            <a:ext cx="4680520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15779" y="1203598"/>
            <a:ext cx="4950000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GB" noProof="0" dirty="0"/>
              <a:t>Click to edit the title</a:t>
            </a:r>
          </a:p>
        </p:txBody>
      </p:sp>
      <p:sp>
        <p:nvSpPr>
          <p:cNvPr id="7" name="AddNotifier#1"/>
          <p:cNvSpPr txBox="1">
            <a:spLocks noChangeArrowheads="1"/>
          </p:cNvSpPr>
          <p:nvPr userDrawn="1"/>
        </p:nvSpPr>
        <p:spPr bwMode="auto">
          <a:xfrm>
            <a:off x="234016" y="4240618"/>
            <a:ext cx="4914048" cy="63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700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Worldline, </a:t>
            </a:r>
            <a:r>
              <a:rPr lang="en-US" sz="700" kern="12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700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Unify, </a:t>
            </a:r>
            <a:r>
              <a:rPr lang="en-US" sz="700" kern="12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700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6. © 2016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7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201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sic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874800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86078290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p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365126" y="578645"/>
            <a:ext cx="8421689" cy="439971"/>
          </a:xfrm>
        </p:spPr>
        <p:txBody>
          <a:bodyPr vert="horz" wrap="square" lIns="0" tIns="0" rIns="0" bIns="0" rtlCol="0">
            <a:noAutofit/>
          </a:bodyPr>
          <a:lstStyle>
            <a:lvl1pPr marL="0" indent="0">
              <a:buFontTx/>
              <a:buNone/>
              <a:defRPr lang="en-US" sz="1350" b="1" spc="-23" smtClean="0">
                <a:solidFill>
                  <a:schemeClr val="tx2"/>
                </a:solidFill>
              </a:defRPr>
            </a:lvl1pPr>
            <a:lvl2pPr marL="140348" indent="0">
              <a:buFontTx/>
              <a:buNone/>
              <a:defRPr lang="en-US" sz="1350" smtClean="0">
                <a:latin typeface="+mn-lt"/>
                <a:ea typeface="+mn-ea"/>
                <a:cs typeface="+mn-cs"/>
              </a:defRPr>
            </a:lvl2pPr>
            <a:lvl3pPr marL="483190" indent="0">
              <a:buFontTx/>
              <a:buNone/>
              <a:defRPr lang="en-US" sz="1350" smtClean="0">
                <a:latin typeface="+mn-lt"/>
                <a:ea typeface="+mn-ea"/>
                <a:cs typeface="+mn-cs"/>
              </a:defRPr>
            </a:lvl3pPr>
            <a:lvl4pPr marL="826032" indent="0">
              <a:buFontTx/>
              <a:buNone/>
              <a:defRPr lang="en-US" sz="1350" smtClean="0">
                <a:latin typeface="+mn-lt"/>
                <a:ea typeface="+mn-ea"/>
                <a:cs typeface="+mn-cs"/>
              </a:defRPr>
            </a:lvl4pPr>
            <a:lvl5pPr marL="1168875" indent="0">
              <a:buFontTx/>
              <a:buNone/>
              <a:defRPr lang="en-GB" sz="1350">
                <a:latin typeface="+mn-lt"/>
                <a:ea typeface="+mn-ea"/>
                <a:cs typeface="+mn-cs"/>
              </a:defRPr>
            </a:lvl5pPr>
          </a:lstStyle>
          <a:p>
            <a:pPr marL="9509" marR="3803" lvl="0" defTabSz="342842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7" y="211792"/>
            <a:ext cx="4137025" cy="352316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nl-NL" sz="1050" spc="-19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0" name="object 12"/>
          <p:cNvSpPr/>
          <p:nvPr/>
        </p:nvSpPr>
        <p:spPr>
          <a:xfrm>
            <a:off x="3" y="388875"/>
            <a:ext cx="292963" cy="0"/>
          </a:xfrm>
          <a:custGeom>
            <a:avLst/>
            <a:gdLst/>
            <a:ahLst/>
            <a:cxnLst/>
            <a:rect l="l" t="t" r="r" b="b"/>
            <a:pathLst>
              <a:path w="293370">
                <a:moveTo>
                  <a:pt x="0" y="0"/>
                </a:moveTo>
                <a:lnTo>
                  <a:pt x="293268" y="0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35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27" y="4801057"/>
            <a:ext cx="362599" cy="16671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25356" algn="r">
              <a:lnSpc>
                <a:spcPts val="1332"/>
              </a:lnSpc>
              <a:defRPr sz="1200">
                <a:latin typeface="Stag Light"/>
                <a:cs typeface="Stag Light"/>
              </a:defRPr>
            </a:lvl1pPr>
          </a:lstStyle>
          <a:p>
            <a:pPr lvl="0" algn="r"/>
            <a:fld id="{CB59B384-42B2-4AEB-B4FD-F2BCF9C535CC}" type="slidenum">
              <a:rPr lang="en-GB" sz="825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lvl="0" algn="r"/>
              <a:t>‹N°›</a:t>
            </a:fld>
            <a:endParaRPr lang="en-GB" sz="825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object 2"/>
          <p:cNvSpPr/>
          <p:nvPr/>
        </p:nvSpPr>
        <p:spPr>
          <a:xfrm>
            <a:off x="3" y="4877270"/>
            <a:ext cx="292963" cy="0"/>
          </a:xfrm>
          <a:custGeom>
            <a:avLst/>
            <a:gdLst/>
            <a:ahLst/>
            <a:cxnLst/>
            <a:rect l="l" t="t" r="r" b="b"/>
            <a:pathLst>
              <a:path w="293370">
                <a:moveTo>
                  <a:pt x="0" y="0"/>
                </a:moveTo>
                <a:lnTo>
                  <a:pt x="293268" y="0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2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133" y="4851247"/>
            <a:ext cx="1635224" cy="8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550620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k-SK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4"/>
          </p:nvPr>
        </p:nvSpPr>
        <p:spPr>
          <a:xfrm>
            <a:off x="271613" y="1809750"/>
            <a:ext cx="2159001" cy="216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5"/>
          </p:nvPr>
        </p:nvSpPr>
        <p:spPr>
          <a:xfrm>
            <a:off x="2425427" y="1809750"/>
            <a:ext cx="2159001" cy="216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6"/>
          </p:nvPr>
        </p:nvSpPr>
        <p:spPr>
          <a:xfrm>
            <a:off x="4579250" y="1809750"/>
            <a:ext cx="2159001" cy="216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27"/>
          </p:nvPr>
        </p:nvSpPr>
        <p:spPr>
          <a:xfrm>
            <a:off x="6733043" y="1809750"/>
            <a:ext cx="2159001" cy="216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8"/>
          </p:nvPr>
        </p:nvSpPr>
        <p:spPr>
          <a:xfrm>
            <a:off x="271649" y="1200150"/>
            <a:ext cx="7881797" cy="609600"/>
          </a:xfrm>
        </p:spPr>
        <p:txBody>
          <a:bodyPr lIns="134967" tIns="70182" rIns="134967" bIns="70182"/>
          <a:lstStyle>
            <a:lvl1pPr algn="l">
              <a:lnSpc>
                <a:spcPct val="120000"/>
              </a:lnSpc>
              <a:spcAft>
                <a:spcPts val="600"/>
              </a:spcAft>
              <a:defRPr/>
            </a:lvl1pPr>
            <a:lvl2pPr algn="ctr">
              <a:lnSpc>
                <a:spcPct val="120000"/>
              </a:lnSpc>
              <a:spcAft>
                <a:spcPts val="600"/>
              </a:spcAft>
              <a:defRPr/>
            </a:lvl2pPr>
            <a:lvl3pPr algn="ctr">
              <a:lnSpc>
                <a:spcPct val="120000"/>
              </a:lnSpc>
              <a:spcAft>
                <a:spcPts val="600"/>
              </a:spcAft>
              <a:defRPr/>
            </a:lvl3pPr>
            <a:lvl4pPr algn="ctr">
              <a:lnSpc>
                <a:spcPct val="120000"/>
              </a:lnSpc>
              <a:spcAft>
                <a:spcPts val="600"/>
              </a:spcAft>
              <a:defRPr/>
            </a:lvl4pPr>
            <a:lvl5pPr algn="ctr"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5496468-0413-4731-BC8D-F40F8207B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77920" y="4709602"/>
            <a:ext cx="1346844" cy="441908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143963" tIns="134997" rIns="143963" bIns="134997" anchor="ctr" anchorCtr="1">
            <a:spAutoFit/>
          </a:bodyPr>
          <a:lstStyle>
            <a:lvl1pPr>
              <a:defRPr lang="en-US" sz="1100">
                <a:ln>
                  <a:noFill/>
                </a:ln>
                <a:solidFill>
                  <a:schemeClr val="accent2"/>
                </a:solidFill>
                <a:latin typeface="Roboto Light"/>
                <a:cs typeface="Roboto Light"/>
              </a:defRPr>
            </a:lvl1pPr>
          </a:lstStyle>
          <a:p>
            <a:pPr defTabSz="685783"/>
            <a:r>
              <a:rPr lang="fr-FR" dirty="0"/>
              <a:t> - </a:t>
            </a:r>
            <a:fld id="{77513DED-9F41-6D4C-AADB-00EAAC4B4386}" type="slidenum">
              <a:rPr lang="fr-FR" smtClean="0"/>
              <a:pPr defTabSz="685783"/>
              <a:t>‹N°›</a:t>
            </a:fld>
            <a:r>
              <a:rPr lang="fr-FR" dirty="0"/>
              <a:t> -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62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1046562"/>
            <a:ext cx="4732337" cy="110251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fr-FR" noProof="0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3" y="2215754"/>
            <a:ext cx="4732337" cy="1114425"/>
          </a:xfrm>
        </p:spPr>
        <p:txBody>
          <a:bodyPr/>
          <a:lstStyle>
            <a:lvl1pPr marL="0" indent="0">
              <a:buFont typeface="Lucida Sans Unicode" charset="0"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4385239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51062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021556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65306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9701" y="1091805"/>
            <a:ext cx="4297364" cy="347424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>
                <a:latin typeface="Verdana"/>
                <a:cs typeface="Verdana"/>
              </a:defRPr>
            </a:lvl3pPr>
            <a:lvl4pPr>
              <a:defRPr sz="1350">
                <a:latin typeface="Verdana"/>
                <a:cs typeface="Verdana"/>
              </a:defRPr>
            </a:lvl4pPr>
            <a:lvl5pPr>
              <a:defRPr sz="1350">
                <a:latin typeface="Verdana"/>
                <a:cs typeface="Verdana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89463" y="1091805"/>
            <a:ext cx="4297363" cy="347424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>
                <a:latin typeface="Verdana"/>
                <a:cs typeface="Verdana"/>
              </a:defRPr>
            </a:lvl3pPr>
            <a:lvl4pPr>
              <a:defRPr sz="1350">
                <a:latin typeface="Verdana"/>
                <a:cs typeface="Verdana"/>
              </a:defRPr>
            </a:lvl4pPr>
            <a:lvl5pPr>
              <a:defRPr sz="1350">
                <a:latin typeface="Verdana"/>
                <a:cs typeface="Verdana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95270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500">
                <a:latin typeface="Verdana"/>
                <a:cs typeface="Verdana"/>
              </a:defRPr>
            </a:lvl1pPr>
            <a:lvl2pPr>
              <a:defRPr sz="1500">
                <a:latin typeface="Verdana"/>
                <a:cs typeface="Verdana"/>
              </a:defRPr>
            </a:lvl2pPr>
            <a:lvl3pPr>
              <a:defRPr sz="1350">
                <a:latin typeface="Verdana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151335"/>
            <a:ext cx="4041776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631156"/>
            <a:ext cx="4041776" cy="2963466"/>
          </a:xfrm>
        </p:spPr>
        <p:txBody>
          <a:bodyPr/>
          <a:lstStyle>
            <a:lvl1pPr>
              <a:defRPr sz="1500">
                <a:latin typeface="Verdana"/>
                <a:cs typeface="Verdana"/>
              </a:defRPr>
            </a:lvl1pPr>
            <a:lvl2pPr>
              <a:defRPr sz="1500">
                <a:latin typeface="Verdana"/>
                <a:cs typeface="Verdana"/>
              </a:defRPr>
            </a:lvl2pPr>
            <a:lvl3pPr>
              <a:defRPr sz="1350">
                <a:latin typeface="Verdana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36476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08795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36028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4787"/>
            <a:ext cx="3008313" cy="72710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1500"/>
            </a:lvl1pPr>
            <a:lvl2pPr>
              <a:defRPr sz="1500">
                <a:latin typeface="Verdana"/>
                <a:cs typeface="Verdana"/>
              </a:defRPr>
            </a:lvl2pPr>
            <a:lvl3pPr>
              <a:defRPr sz="1500">
                <a:latin typeface="Verdana"/>
                <a:cs typeface="Verdana"/>
              </a:defRPr>
            </a:lvl3pPr>
            <a:lvl4pPr>
              <a:defRPr sz="1500">
                <a:latin typeface="Verdana"/>
                <a:cs typeface="Verdana"/>
              </a:defRPr>
            </a:lvl4pPr>
            <a:lvl5pPr>
              <a:defRPr sz="1500">
                <a:latin typeface="Verdana"/>
                <a:cs typeface="Verdana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076327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0358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50:50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4283504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675907" y="1091481"/>
            <a:ext cx="4283504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5016976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/>
              <a:t>Click icon to add picture</a:t>
            </a:r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35583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144164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700839" y="282180"/>
            <a:ext cx="2185988" cy="42838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9700" y="282180"/>
            <a:ext cx="6408739" cy="4283869"/>
          </a:xfrm>
        </p:spPr>
        <p:txBody>
          <a:bodyPr vert="eaVert"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174898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37426" y="-706594"/>
            <a:ext cx="10434122" cy="6338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-737426" y="-706594"/>
            <a:ext cx="10434122" cy="6338903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779" y="1203598"/>
            <a:ext cx="8309346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i="0" baseline="0">
                <a:solidFill>
                  <a:schemeClr val="bg1"/>
                </a:solidFill>
                <a:latin typeface="Stag LCG Semibold" charset="0"/>
                <a:ea typeface="Stag LCG Semibold" charset="0"/>
                <a:cs typeface="Stag LCG Semibold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2931" y="2320746"/>
            <a:ext cx="8312194" cy="11151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0" i="0">
                <a:solidFill>
                  <a:schemeClr val="bg1"/>
                </a:solidFill>
                <a:latin typeface="Stag LCG Book" charset="0"/>
                <a:ea typeface="Stag LCG Book" charset="0"/>
                <a:cs typeface="Stag LCG Book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217612" y="3723878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sz="1200" b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4479635" y="4646845"/>
            <a:ext cx="18473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endParaRPr lang="en-US" sz="800" b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212931" y="4658001"/>
            <a:ext cx="24128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0" i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Trusted partner for your </a:t>
            </a:r>
            <a:r>
              <a:rPr lang="en-GB" sz="1000" b="0" i="0">
                <a:solidFill>
                  <a:schemeClr val="bg1"/>
                </a:solidFill>
                <a:latin typeface="Stag Sans LCG Book" charset="0"/>
                <a:ea typeface="Stag Sans LCG Book" charset="0"/>
                <a:cs typeface="Stag Sans LCG Book" charset="0"/>
              </a:rPr>
              <a:t>Digital Journey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27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3525" cy="5186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9525" y="43178"/>
            <a:ext cx="9144000" cy="51435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380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0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sic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8748000" cy="34749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1pPr>
            <a:lvl2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2pPr>
            <a:lvl3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3pPr>
            <a:lvl4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4pPr>
            <a:lvl5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5pPr>
          </a:lstStyle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 b="1" i="0">
                <a:latin typeface="Stag LCG Semibold" charset="0"/>
                <a:ea typeface="Stag LCG Semibold" charset="0"/>
                <a:cs typeface="Stag LCG Semibold" charset="0"/>
              </a:defRPr>
            </a:lvl1pPr>
          </a:lstStyle>
          <a:p>
            <a:r>
              <a:rPr lang="en-US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222429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2nd top line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843558"/>
            <a:ext cx="8748000" cy="37236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237895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5183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1355" y="0"/>
            <a:ext cx="9142645" cy="5223468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5" y="0"/>
            <a:ext cx="9142645" cy="514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63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3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33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4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5DCC47CD-747A-4ADE-9ED6-ED253FFD8F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9" y="0"/>
            <a:ext cx="9141291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30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3:66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9" y="1090800"/>
            <a:ext cx="2827113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261718" y="1091481"/>
            <a:ext cx="569706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58248046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47F7A6-B4D3-4DD5-8C50-C097826E07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A3D10F3-9FBA-49C1-89B0-D3BC90923349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5DB35CE-7101-4A81-8867-51DBC1F74C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E83E6470-4D48-43D5-8E4C-1F19125465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62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5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9" y="0"/>
            <a:ext cx="9141291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-13545" y="0"/>
            <a:ext cx="9144000" cy="51435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09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86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6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028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65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7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816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24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028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33243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364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9100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364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58714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919363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20472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46714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03339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66:33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569706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132629" y="1091481"/>
            <a:ext cx="2827113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631852344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25035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7528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06194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2729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6365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0379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7944" y="1995686"/>
            <a:ext cx="4968552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52676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412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55976" y="1995686"/>
            <a:ext cx="4680520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821325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15779" y="1203598"/>
            <a:ext cx="4950000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0" i="0" baseline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nl-NL" dirty="0"/>
              <a:t>Click to edit the title</a:t>
            </a:r>
          </a:p>
        </p:txBody>
      </p:sp>
      <p:sp>
        <p:nvSpPr>
          <p:cNvPr id="7" name="AddNotifier#1"/>
          <p:cNvSpPr txBox="1">
            <a:spLocks noChangeArrowheads="1"/>
          </p:cNvSpPr>
          <p:nvPr userDrawn="1"/>
        </p:nvSpPr>
        <p:spPr bwMode="auto">
          <a:xfrm>
            <a:off x="234016" y="4240618"/>
            <a:ext cx="4914048" cy="63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700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Atos, the Atos logo, Atos Codex, Atos Consulting, Atos </a:t>
            </a:r>
            <a:r>
              <a:rPr lang="en-US" sz="700" b="0" i="0" kern="1200" dirty="0" err="1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Worldgrid</a:t>
            </a:r>
            <a:r>
              <a:rPr lang="en-US" sz="700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, </a:t>
            </a:r>
            <a:r>
              <a:rPr lang="en-US" sz="700" b="0" i="0" kern="1200" dirty="0" err="1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Worldline</a:t>
            </a:r>
            <a:r>
              <a:rPr lang="en-US" sz="700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, </a:t>
            </a:r>
            <a:r>
              <a:rPr lang="en-US" sz="700" b="0" i="0" kern="1200" dirty="0" err="1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BlueKiwi</a:t>
            </a:r>
            <a:r>
              <a:rPr lang="en-US" sz="700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, Bull, Canopy the Open Cloud Company, Unify, </a:t>
            </a:r>
            <a:r>
              <a:rPr lang="en-US" sz="700" b="0" i="0" kern="1200" dirty="0" err="1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Yunano</a:t>
            </a:r>
            <a:r>
              <a:rPr lang="en-US" sz="700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, Zero Email, Zero Email Certified and The Zero Email Company are registered trademarks of the Atos group. June 2016. © 2016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700" b="0" i="0" dirty="0">
              <a:solidFill>
                <a:schemeClr val="bg1"/>
              </a:solidFill>
              <a:latin typeface="Stag LCG Light" charset="0"/>
              <a:ea typeface="Stag LCG Light" charset="0"/>
              <a:cs typeface="Stag LCG Light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922" y="4276310"/>
            <a:ext cx="1621625" cy="7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39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ith section name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8613" y="1189038"/>
            <a:ext cx="8505826" cy="3279775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buClr>
                <a:schemeClr val="tx1"/>
              </a:buClr>
              <a:buFont typeface="Stag Sans Book" pitchFamily="34" charset="0"/>
              <a:buChar char="•"/>
              <a:defRPr sz="1000" b="0" i="0">
                <a:latin typeface="Stag Sans LCG Light" charset="0"/>
                <a:ea typeface="Stag Sans LCG Light" charset="0"/>
                <a:cs typeface="Stag Sans LCG Light" charset="0"/>
              </a:defRPr>
            </a:lvl1pPr>
            <a:lvl2pPr marL="382588" indent="-180975">
              <a:defRPr sz="1000" b="0" i="0">
                <a:latin typeface="Stag Sans LCG Light" charset="0"/>
                <a:ea typeface="Stag Sans LCG Light" charset="0"/>
                <a:cs typeface="Stag Sans LCG Light" charset="0"/>
              </a:defRPr>
            </a:lvl2pPr>
            <a:lvl3pPr marL="723900" indent="-184150">
              <a:defRPr sz="1000" b="0" i="0">
                <a:latin typeface="Stag Sans LCG Light" charset="0"/>
                <a:ea typeface="Stag Sans LCG Light" charset="0"/>
                <a:cs typeface="Stag Sans LCG Light" charset="0"/>
              </a:defRPr>
            </a:lvl3pPr>
            <a:lvl4pPr marL="914400" indent="-190500">
              <a:defRPr sz="1000" b="0" i="0">
                <a:latin typeface="Stag Sans LCG Light" charset="0"/>
                <a:ea typeface="Stag Sans LCG Light" charset="0"/>
                <a:cs typeface="Stag Sans LCG Light" charset="0"/>
              </a:defRPr>
            </a:lvl4pPr>
            <a:lvl5pPr marL="1155700" indent="-231775">
              <a:defRPr sz="1000" b="0" i="0">
                <a:latin typeface="Stag Sans LCG Light" charset="0"/>
                <a:ea typeface="Stag Sans LCG Light" charset="0"/>
                <a:cs typeface="Stag Sans LCG Light" charset="0"/>
              </a:defRPr>
            </a:lvl5pPr>
          </a:lstStyle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8613" y="393404"/>
            <a:ext cx="8505825" cy="6166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200" dirty="0"/>
            </a:lvl1pPr>
          </a:lstStyle>
          <a:p>
            <a:pPr lvl="0"/>
            <a:r>
              <a:rPr lang="en-US" dirty="0"/>
              <a:t>Click to edit the head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-16447" y="202019"/>
            <a:ext cx="288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111440"/>
            <a:ext cx="2917052" cy="202424"/>
          </a:xfrm>
        </p:spPr>
        <p:txBody>
          <a:bodyPr lIns="0" tIns="0" rIns="0" bIns="0" anchor="ctr"/>
          <a:lstStyle>
            <a:lvl1pPr marL="0" indent="0">
              <a:buFontTx/>
              <a:buNone/>
              <a:defRPr sz="800" b="0" i="0">
                <a:solidFill>
                  <a:schemeClr val="tx1"/>
                </a:solidFill>
                <a:latin typeface="Stag Sans LCG Book" charset="0"/>
                <a:ea typeface="Stag Sans LCG Book" charset="0"/>
                <a:cs typeface="Stag Sans LCG Book" charset="0"/>
              </a:defRPr>
            </a:lvl1pPr>
            <a:lvl2pPr marL="270000" indent="0">
              <a:buFontTx/>
              <a:buNone/>
              <a:defRPr sz="1400"/>
            </a:lvl2pPr>
            <a:lvl3pPr marL="540000" indent="0">
              <a:buFontTx/>
              <a:buNone/>
              <a:defRPr sz="1400"/>
            </a:lvl3pPr>
            <a:lvl4pPr marL="810000" indent="0">
              <a:buFontTx/>
              <a:buNone/>
              <a:defRPr sz="1400"/>
            </a:lvl4pPr>
            <a:lvl5pPr marL="10800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section name</a:t>
            </a:r>
            <a:endParaRPr lang="en-GB" dirty="0"/>
          </a:p>
        </p:txBody>
      </p:sp>
      <p:pic>
        <p:nvPicPr>
          <p:cNvPr id="6" name="Picture 8" descr="logo_ED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872" y="336691"/>
            <a:ext cx="1512615" cy="594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179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1046562"/>
            <a:ext cx="4732337" cy="110251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fr-FR" noProof="0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3" y="2215754"/>
            <a:ext cx="4732337" cy="1114425"/>
          </a:xfrm>
        </p:spPr>
        <p:txBody>
          <a:bodyPr/>
          <a:lstStyle>
            <a:lvl1pPr marL="0" indent="0">
              <a:buFont typeface="Lucida Sans Unicode" charset="0"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927015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3:33:33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284853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132629" y="1090800"/>
            <a:ext cx="2827113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3174558" y="1090800"/>
            <a:ext cx="284853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36170155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94971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021556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604172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9701" y="1091805"/>
            <a:ext cx="4297364" cy="347424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>
                <a:latin typeface="Verdana"/>
                <a:cs typeface="Verdana"/>
              </a:defRPr>
            </a:lvl3pPr>
            <a:lvl4pPr>
              <a:defRPr sz="1350">
                <a:latin typeface="Verdana"/>
                <a:cs typeface="Verdana"/>
              </a:defRPr>
            </a:lvl4pPr>
            <a:lvl5pPr>
              <a:defRPr sz="1350">
                <a:latin typeface="Verdana"/>
                <a:cs typeface="Verdana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89463" y="1091805"/>
            <a:ext cx="4297363" cy="347424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>
                <a:latin typeface="Verdana"/>
                <a:cs typeface="Verdana"/>
              </a:defRPr>
            </a:lvl3pPr>
            <a:lvl4pPr>
              <a:defRPr sz="1350">
                <a:latin typeface="Verdana"/>
                <a:cs typeface="Verdana"/>
              </a:defRPr>
            </a:lvl4pPr>
            <a:lvl5pPr>
              <a:defRPr sz="1350">
                <a:latin typeface="Verdana"/>
                <a:cs typeface="Verdana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97483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500">
                <a:latin typeface="Verdana"/>
                <a:cs typeface="Verdana"/>
              </a:defRPr>
            </a:lvl1pPr>
            <a:lvl2pPr>
              <a:defRPr sz="1500">
                <a:latin typeface="Verdana"/>
                <a:cs typeface="Verdana"/>
              </a:defRPr>
            </a:lvl2pPr>
            <a:lvl3pPr>
              <a:defRPr sz="1350">
                <a:latin typeface="Verdana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151335"/>
            <a:ext cx="4041776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631156"/>
            <a:ext cx="4041776" cy="2963466"/>
          </a:xfrm>
        </p:spPr>
        <p:txBody>
          <a:bodyPr/>
          <a:lstStyle>
            <a:lvl1pPr>
              <a:defRPr sz="1500">
                <a:latin typeface="Verdana"/>
                <a:cs typeface="Verdana"/>
              </a:defRPr>
            </a:lvl1pPr>
            <a:lvl2pPr>
              <a:defRPr sz="1500">
                <a:latin typeface="Verdana"/>
                <a:cs typeface="Verdana"/>
              </a:defRPr>
            </a:lvl2pPr>
            <a:lvl3pPr>
              <a:defRPr sz="1350">
                <a:latin typeface="Verdana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97026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26218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46064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4787"/>
            <a:ext cx="3008313" cy="72710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1500"/>
            </a:lvl1pPr>
            <a:lvl2pPr>
              <a:defRPr sz="1500">
                <a:latin typeface="Verdana"/>
                <a:cs typeface="Verdana"/>
              </a:defRPr>
            </a:lvl2pPr>
            <a:lvl3pPr>
              <a:defRPr sz="1500">
                <a:latin typeface="Verdana"/>
                <a:cs typeface="Verdana"/>
              </a:defRPr>
            </a:lvl3pPr>
            <a:lvl4pPr>
              <a:defRPr sz="1500">
                <a:latin typeface="Verdana"/>
                <a:cs typeface="Verdana"/>
              </a:defRPr>
            </a:lvl4pPr>
            <a:lvl5pPr>
              <a:defRPr sz="1500">
                <a:latin typeface="Verdana"/>
                <a:cs typeface="Verdana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076327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086553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/>
              <a:t>Click icon to add picture</a:t>
            </a:r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049848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51116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700839" y="282180"/>
            <a:ext cx="2185988" cy="42838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9700" y="282180"/>
            <a:ext cx="6408739" cy="4283869"/>
          </a:xfrm>
        </p:spPr>
        <p:txBody>
          <a:bodyPr vert="eaVert"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7062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Boston-Matrix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496" y="955675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88496" y="2787774"/>
            <a:ext cx="4283504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05383" y="955675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05383" y="2787774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1520" y="2745242"/>
            <a:ext cx="8784976" cy="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639903" y="947465"/>
            <a:ext cx="0" cy="367240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9036496" y="951003"/>
            <a:ext cx="0" cy="367240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1520" y="947465"/>
            <a:ext cx="0" cy="367240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82549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85"/>
          <a:stretch/>
        </p:blipFill>
        <p:spPr>
          <a:xfrm>
            <a:off x="-21106" y="0"/>
            <a:ext cx="9165105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779" y="1203598"/>
            <a:ext cx="8309346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2931" y="2320746"/>
            <a:ext cx="8312194" cy="11151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300"/>
          <a:stretch/>
        </p:blipFill>
        <p:spPr bwMode="auto">
          <a:xfrm>
            <a:off x="7485318" y="4372678"/>
            <a:ext cx="1497935" cy="551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612" y="4708984"/>
            <a:ext cx="3120894" cy="323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72276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 slide #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3203848" y="1995686"/>
            <a:ext cx="5472608" cy="1080120"/>
          </a:xfrm>
          <a:ln w="15874">
            <a:noFill/>
          </a:ln>
        </p:spPr>
        <p:txBody>
          <a:bodyPr lIns="0" tIns="0" rIns="0" bIns="0" anchor="b" anchorCtr="0"/>
          <a:lstStyle>
            <a:lvl1pPr>
              <a:defRPr sz="3000" b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-21106" y="0"/>
            <a:ext cx="9165105" cy="5143500"/>
            <a:chOff x="-21106" y="0"/>
            <a:chExt cx="9165105" cy="5143500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5"/>
            <a:stretch/>
          </p:blipFill>
          <p:spPr>
            <a:xfrm>
              <a:off x="-21106" y="0"/>
              <a:ext cx="9165105" cy="5143500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 userDrawn="1"/>
          </p:nvSpPr>
          <p:spPr>
            <a:xfrm>
              <a:off x="-21106" y="0"/>
              <a:ext cx="9163751" cy="5143500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3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516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 slide #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21106" y="0"/>
            <a:ext cx="9165105" cy="5143500"/>
            <a:chOff x="-21106" y="0"/>
            <a:chExt cx="9165105" cy="51435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5"/>
            <a:stretch/>
          </p:blipFill>
          <p:spPr>
            <a:xfrm>
              <a:off x="-21106" y="0"/>
              <a:ext cx="9165105" cy="5143500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-21106" y="0"/>
              <a:ext cx="9163751" cy="5143500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605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  <a:ln w="15874">
            <a:noFill/>
          </a:ln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77743038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 slide #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-21106" y="0"/>
            <a:ext cx="9165105" cy="5143500"/>
            <a:chOff x="-21106" y="0"/>
            <a:chExt cx="9165105" cy="5143500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5"/>
            <a:stretch/>
          </p:blipFill>
          <p:spPr>
            <a:xfrm>
              <a:off x="-21106" y="0"/>
              <a:ext cx="9165105" cy="5143500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 userDrawn="1"/>
          </p:nvSpPr>
          <p:spPr>
            <a:xfrm>
              <a:off x="-21106" y="0"/>
              <a:ext cx="9163751" cy="5143500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" y="-19613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  <a:ln w="15874">
            <a:noFill/>
          </a:ln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1713642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779" y="1203598"/>
            <a:ext cx="8309346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2931" y="2320746"/>
            <a:ext cx="8312194" cy="11151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the sub title</a:t>
            </a:r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217612" y="3723878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7/01/2018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3830451" y="4646845"/>
            <a:ext cx="148309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GB" sz="800" b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8675907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09135168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sic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874800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98980636"/>
      </p:ext>
    </p:extLst>
  </p:cSld>
  <p:clrMapOvr>
    <a:masterClrMapping/>
  </p:clrMapOvr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50:50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4283504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675907" y="1091481"/>
            <a:ext cx="4283504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52853424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3:66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9" y="1090800"/>
            <a:ext cx="2827113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261718" y="1091481"/>
            <a:ext cx="569706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22349218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66:33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569706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132629" y="1091481"/>
            <a:ext cx="2827113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1888411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 2nd top line 4 x Quarters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496" y="955675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40887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88496" y="2787774"/>
            <a:ext cx="4283504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05383" y="955675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05383" y="2787774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179512" y="2745242"/>
            <a:ext cx="8856984" cy="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639903" y="915566"/>
            <a:ext cx="0" cy="367240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346279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3:33:33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1090800"/>
            <a:ext cx="284853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132629" y="1090800"/>
            <a:ext cx="2827113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3174558" y="1090800"/>
            <a:ext cx="284853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599267714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Boston-Matrix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496" y="955675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88496" y="2787774"/>
            <a:ext cx="4283504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05383" y="955675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05383" y="2787774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1520" y="2745242"/>
            <a:ext cx="8784976" cy="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639903" y="947465"/>
            <a:ext cx="0" cy="367240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9036496" y="951003"/>
            <a:ext cx="0" cy="367240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1520" y="947465"/>
            <a:ext cx="0" cy="367240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546981589"/>
      </p:ext>
    </p:extLst>
  </p:cSld>
  <p:clrMapOvr>
    <a:masterClrMapping/>
  </p:clrMapOvr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 2nd top line 4 x Quarters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496" y="955675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40887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88496" y="2787774"/>
            <a:ext cx="4283504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05383" y="955675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05383" y="2787774"/>
            <a:ext cx="4283504" cy="1728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179512" y="2745242"/>
            <a:ext cx="8856984" cy="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639903" y="915566"/>
            <a:ext cx="0" cy="367240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296924" y="4948014"/>
            <a:ext cx="219612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fld id="{81D60167-4931-47E6-BA6A-407CBD079E47}" type="slidenum">
              <a:rPr lang="en-US" sz="900" smtClean="0">
                <a:cs typeface="Verdana"/>
              </a:rPr>
              <a:pPr marL="19012">
                <a:lnSpc>
                  <a:spcPts val="999"/>
                </a:lnSpc>
              </a:pPr>
              <a:t>‹N°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1365057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605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17841921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" y="-19613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14212799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6056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76174587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816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058037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028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26835144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18168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72990473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" y="-3028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376749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70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image" Target="../media/image26.png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0300" y="4907073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°›</a:t>
            </a:fld>
            <a:endParaRPr lang="nl-NL" dirty="0"/>
          </a:p>
        </p:txBody>
      </p:sp>
      <p:sp>
        <p:nvSpPr>
          <p:cNvPr id="10" name="AddCustomFooter#1"/>
          <p:cNvSpPr txBox="1"/>
          <p:nvPr/>
        </p:nvSpPr>
        <p:spPr>
          <a:xfrm>
            <a:off x="236700" y="4891975"/>
            <a:ext cx="2528256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9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       | </a:t>
            </a:r>
            <a:r>
              <a:rPr lang="en-GB" sz="9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Nov-18</a:t>
            </a:r>
            <a:r>
              <a:rPr lang="en-US" sz="9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 | Consulting/DDL| © Ato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216488" y="1090800"/>
            <a:ext cx="8748000" cy="3713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16488" y="123478"/>
            <a:ext cx="8748000" cy="567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GB" noProof="0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1998182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6" r:id="rId2"/>
    <p:sldLayoutId id="2147483653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54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55" r:id="rId29"/>
    <p:sldLayoutId id="2147483682" r:id="rId30"/>
    <p:sldLayoutId id="2147483684" r:id="rId3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70000" indent="-270000" algn="l" defTabSz="91440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540000" indent="-2700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81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08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35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282179"/>
            <a:ext cx="8734425" cy="570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9701" y="1091805"/>
            <a:ext cx="8747125" cy="3474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4802189" y="4901283"/>
            <a:ext cx="619125" cy="179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5026" tIns="37514" rIns="75026" bIns="37514" anchor="ctr">
            <a:spAutoFit/>
          </a:bodyPr>
          <a:lstStyle>
            <a:lvl1pPr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1pPr>
            <a:lvl2pPr marL="742950" indent="-28575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2pPr>
            <a:lvl3pPr marL="11430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3pPr>
            <a:lvl4pPr marL="16002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4pPr>
            <a:lvl5pPr marL="20574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5pPr>
            <a:lvl6pPr marL="25146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6pPr>
            <a:lvl7pPr marL="29718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7pPr>
            <a:lvl8pPr marL="34290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8pPr>
            <a:lvl9pPr marL="38862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ts val="347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fld id="{7BBDBE16-9CD6-445E-B48B-4D9D7507000B}" type="slidenum">
              <a:rPr lang="en-US" sz="675" smtClean="0">
                <a:solidFill>
                  <a:srgbClr val="818181"/>
                </a:solidFill>
                <a:latin typeface="Lucida Sans" pitchFamily="34" charset="0"/>
              </a:rPr>
              <a:pPr algn="ctr" eaLnBrk="1" hangingPunct="1">
                <a:spcBef>
                  <a:spcPts val="347"/>
                </a:spcBef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t>‹N°›</a:t>
            </a:fld>
            <a:endParaRPr lang="en-US" sz="675" dirty="0">
              <a:solidFill>
                <a:srgbClr val="818181"/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031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/>
          <a:ea typeface="MS PGothic" pitchFamily="34" charset="-128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9pPr>
    </p:titleStyle>
    <p:bodyStyle>
      <a:lvl1pPr marL="201216" indent="-20121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Lucida Sans Unicode" pitchFamily="34" charset="0"/>
        <a:buChar char="▶"/>
        <a:defRPr sz="1200">
          <a:solidFill>
            <a:srgbClr val="000000"/>
          </a:solidFill>
          <a:latin typeface="Verdana"/>
          <a:ea typeface="MS PGothic" pitchFamily="34" charset="-128"/>
          <a:cs typeface="Verdana"/>
        </a:defRPr>
      </a:lvl1pPr>
      <a:lvl2pPr marL="404813" indent="-20240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Arial" charset="0"/>
        <a:buChar char="–"/>
        <a:defRPr sz="1200">
          <a:solidFill>
            <a:srgbClr val="000000"/>
          </a:solidFill>
          <a:latin typeface="Verdana"/>
          <a:ea typeface="Arial" charset="0"/>
          <a:cs typeface="Verdana"/>
        </a:defRPr>
      </a:lvl2pPr>
      <a:lvl3pPr marL="607219" indent="-20121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Arial" charset="0"/>
        <a:buChar char="•"/>
        <a:defRPr sz="1200">
          <a:solidFill>
            <a:srgbClr val="000000"/>
          </a:solidFill>
          <a:latin typeface="Verdana"/>
          <a:ea typeface="Arial" charset="0"/>
          <a:cs typeface="Verdana"/>
        </a:defRPr>
      </a:lvl3pPr>
      <a:lvl4pPr marL="810816" indent="-20240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–"/>
        <a:defRPr sz="1200">
          <a:solidFill>
            <a:srgbClr val="000000"/>
          </a:solidFill>
          <a:latin typeface="+mn-lt"/>
          <a:ea typeface="Arial" charset="0"/>
          <a:cs typeface="+mn-cs"/>
        </a:defRPr>
      </a:lvl4pPr>
      <a:lvl5pPr marL="10120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5pPr>
      <a:lvl6pPr marL="13549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6pPr>
      <a:lvl7pPr marL="16978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7pPr>
      <a:lvl8pPr marL="20407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8pPr>
      <a:lvl9pPr marL="23836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216488" y="1090800"/>
            <a:ext cx="8748000" cy="3474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16488" y="123478"/>
            <a:ext cx="8748000" cy="567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l-NL" dirty="0"/>
              <a:t>Click to edit the header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30342" y="4719801"/>
            <a:ext cx="26468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79AF32-36D4-7344-A3EF-96AB86137B92}" type="slidenum">
              <a:rPr lang="en-GB" sz="1000" b="0" i="0" smtClean="0">
                <a:solidFill>
                  <a:schemeClr val="tx2"/>
                </a:solidFill>
                <a:latin typeface="Stag LCG Light" charset="0"/>
                <a:ea typeface="Stag LCG Light" charset="0"/>
                <a:cs typeface="Stag LCG Light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r>
              <a:rPr lang="en-GB" sz="1000" b="0" i="0" dirty="0">
                <a:solidFill>
                  <a:schemeClr val="tx2"/>
                </a:solidFill>
                <a:latin typeface="Stag LCG Book" charset="0"/>
                <a:ea typeface="Stag LCG Book" charset="0"/>
                <a:cs typeface="Stag LCG Book" charset="0"/>
              </a:rPr>
              <a:t>  |  </a:t>
            </a:r>
            <a:r>
              <a:rPr lang="en-GB" sz="1000" b="0" i="0" dirty="0">
                <a:solidFill>
                  <a:schemeClr val="tx2"/>
                </a:solidFill>
                <a:latin typeface="Stag LCG Light" charset="0"/>
                <a:ea typeface="Stag LCG Light" charset="0"/>
                <a:cs typeface="Stag LCG Light" charset="0"/>
              </a:rPr>
              <a:t>Trusted partner for your </a:t>
            </a:r>
            <a:r>
              <a:rPr lang="en-GB" sz="1000" b="0" i="0" dirty="0">
                <a:solidFill>
                  <a:schemeClr val="tx2"/>
                </a:solidFill>
                <a:latin typeface="Stag Sans LCG Book" charset="0"/>
                <a:ea typeface="Stag Sans LCG Book" charset="0"/>
                <a:cs typeface="Stag Sans LCG Book" charset="0"/>
              </a:rPr>
              <a:t>Digital Journey</a:t>
            </a:r>
          </a:p>
        </p:txBody>
      </p:sp>
    </p:spTree>
    <p:extLst>
      <p:ext uri="{BB962C8B-B14F-4D97-AF65-F5344CB8AC3E}">
        <p14:creationId xmlns:p14="http://schemas.microsoft.com/office/powerpoint/2010/main" val="31247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49" r:id="rId25"/>
    <p:sldLayoutId id="2147483750" r:id="rId26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Stag LCG Medium" charset="0"/>
          <a:ea typeface="Stag LCG Medium" charset="0"/>
          <a:cs typeface="Stag LCG Medium" charset="0"/>
        </a:defRPr>
      </a:lvl1pPr>
    </p:titleStyle>
    <p:bodyStyle>
      <a:lvl1pPr marL="270000" indent="-270000" algn="l" defTabSz="91440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1600" b="0" i="0" kern="1200" baseline="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1pPr>
      <a:lvl2pPr marL="540000" indent="-2700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b="0" i="0" kern="1200" baseline="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2pPr>
      <a:lvl3pPr marL="81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b="0" i="0" kern="120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3pPr>
      <a:lvl4pPr marL="108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b="0" i="0" kern="1200" baseline="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4pPr>
      <a:lvl5pPr marL="135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600" b="0" i="0" kern="120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282179"/>
            <a:ext cx="8734425" cy="570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9701" y="1091805"/>
            <a:ext cx="8747125" cy="3474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4802189" y="4901283"/>
            <a:ext cx="619125" cy="179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5026" tIns="37514" rIns="75026" bIns="37514" anchor="ctr">
            <a:spAutoFit/>
          </a:bodyPr>
          <a:lstStyle>
            <a:lvl1pPr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1pPr>
            <a:lvl2pPr marL="742950" indent="-28575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2pPr>
            <a:lvl3pPr marL="11430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3pPr>
            <a:lvl4pPr marL="16002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4pPr>
            <a:lvl5pPr marL="20574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5pPr>
            <a:lvl6pPr marL="25146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6pPr>
            <a:lvl7pPr marL="29718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7pPr>
            <a:lvl8pPr marL="34290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8pPr>
            <a:lvl9pPr marL="38862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ts val="347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fld id="{7BBDBE16-9CD6-445E-B48B-4D9D7507000B}" type="slidenum">
              <a:rPr lang="en-US" sz="675" smtClean="0">
                <a:solidFill>
                  <a:srgbClr val="818181"/>
                </a:solidFill>
                <a:latin typeface="Lucida Sans" pitchFamily="34" charset="0"/>
              </a:rPr>
              <a:pPr algn="ctr" eaLnBrk="1" hangingPunct="1">
                <a:spcBef>
                  <a:spcPts val="347"/>
                </a:spcBef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t>‹N°›</a:t>
            </a:fld>
            <a:endParaRPr lang="en-US" sz="675" dirty="0">
              <a:solidFill>
                <a:srgbClr val="818181"/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720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4" r:id="rId12"/>
    <p:sldLayoutId id="2147483765" r:id="rId13"/>
    <p:sldLayoutId id="2147483766" r:id="rId14"/>
    <p:sldLayoutId id="2147483767" r:id="rId15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/>
          <a:ea typeface="MS PGothic" pitchFamily="34" charset="-128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9pPr>
    </p:titleStyle>
    <p:bodyStyle>
      <a:lvl1pPr marL="201216" indent="-20121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Lucida Sans Unicode" pitchFamily="34" charset="0"/>
        <a:buChar char="▶"/>
        <a:defRPr sz="1200">
          <a:solidFill>
            <a:srgbClr val="000000"/>
          </a:solidFill>
          <a:latin typeface="Verdana"/>
          <a:ea typeface="MS PGothic" pitchFamily="34" charset="-128"/>
          <a:cs typeface="Verdana"/>
        </a:defRPr>
      </a:lvl1pPr>
      <a:lvl2pPr marL="404813" indent="-20240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Arial" charset="0"/>
        <a:buChar char="–"/>
        <a:defRPr sz="1200">
          <a:solidFill>
            <a:srgbClr val="000000"/>
          </a:solidFill>
          <a:latin typeface="Verdana"/>
          <a:ea typeface="Arial" charset="0"/>
          <a:cs typeface="Verdana"/>
        </a:defRPr>
      </a:lvl2pPr>
      <a:lvl3pPr marL="607219" indent="-20121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Arial" charset="0"/>
        <a:buChar char="•"/>
        <a:defRPr sz="1200">
          <a:solidFill>
            <a:srgbClr val="000000"/>
          </a:solidFill>
          <a:latin typeface="Verdana"/>
          <a:ea typeface="Arial" charset="0"/>
          <a:cs typeface="Verdana"/>
        </a:defRPr>
      </a:lvl3pPr>
      <a:lvl4pPr marL="810816" indent="-20240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–"/>
        <a:defRPr sz="1200">
          <a:solidFill>
            <a:srgbClr val="000000"/>
          </a:solidFill>
          <a:latin typeface="+mn-lt"/>
          <a:ea typeface="Arial" charset="0"/>
          <a:cs typeface="+mn-cs"/>
        </a:defRPr>
      </a:lvl4pPr>
      <a:lvl5pPr marL="10120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5pPr>
      <a:lvl6pPr marL="13549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6pPr>
      <a:lvl7pPr marL="16978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7pPr>
      <a:lvl8pPr marL="20407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8pPr>
      <a:lvl9pPr marL="23836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0300" y="4907073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°›</a:t>
            </a:fld>
            <a:endParaRPr lang="nl-NL" dirty="0"/>
          </a:p>
        </p:txBody>
      </p:sp>
      <p:sp>
        <p:nvSpPr>
          <p:cNvPr id="10" name="AddCustomFooter#1"/>
          <p:cNvSpPr txBox="1"/>
          <p:nvPr/>
        </p:nvSpPr>
        <p:spPr>
          <a:xfrm>
            <a:off x="236700" y="4891975"/>
            <a:ext cx="2528256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9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       | </a:t>
            </a:r>
            <a:r>
              <a:rPr lang="en-GB" sz="9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Nov-18</a:t>
            </a:r>
            <a:r>
              <a:rPr lang="en-US" sz="9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 | Consulting/DDL| © Ato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216488" y="1090800"/>
            <a:ext cx="8748000" cy="3713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16488" y="123478"/>
            <a:ext cx="8748000" cy="567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GB" noProof="0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1583133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  <p:sldLayoutId id="2147483795" r:id="rId25"/>
    <p:sldLayoutId id="2147483796" r:id="rId26"/>
    <p:sldLayoutId id="2147483797" r:id="rId27"/>
    <p:sldLayoutId id="2147483798" r:id="rId28"/>
    <p:sldLayoutId id="2147483799" r:id="rId29"/>
    <p:sldLayoutId id="2147483801" r:id="rId30"/>
    <p:sldLayoutId id="2147483802" r:id="rId31"/>
    <p:sldLayoutId id="2147483803" r:id="rId3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70000" indent="-270000" algn="l" defTabSz="91440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540000" indent="-2700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81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08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35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282179"/>
            <a:ext cx="8734425" cy="570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9701" y="1091805"/>
            <a:ext cx="8747125" cy="3474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4802189" y="4901283"/>
            <a:ext cx="619125" cy="179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5026" tIns="37514" rIns="75026" bIns="37514" anchor="ctr">
            <a:spAutoFit/>
          </a:bodyPr>
          <a:lstStyle>
            <a:lvl1pPr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1pPr>
            <a:lvl2pPr marL="742950" indent="-28575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2pPr>
            <a:lvl3pPr marL="11430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3pPr>
            <a:lvl4pPr marL="16002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4pPr>
            <a:lvl5pPr marL="20574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5pPr>
            <a:lvl6pPr marL="25146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6pPr>
            <a:lvl7pPr marL="29718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7pPr>
            <a:lvl8pPr marL="34290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8pPr>
            <a:lvl9pPr marL="38862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ts val="347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fld id="{7BBDBE16-9CD6-445E-B48B-4D9D7507000B}" type="slidenum">
              <a:rPr lang="en-US" sz="675" smtClean="0">
                <a:solidFill>
                  <a:srgbClr val="818181"/>
                </a:solidFill>
                <a:latin typeface="Lucida Sans" pitchFamily="34" charset="0"/>
              </a:rPr>
              <a:pPr algn="ctr" eaLnBrk="1" hangingPunct="1">
                <a:spcBef>
                  <a:spcPts val="347"/>
                </a:spcBef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t>‹N°›</a:t>
            </a:fld>
            <a:endParaRPr lang="en-US" sz="675" dirty="0">
              <a:solidFill>
                <a:srgbClr val="818181"/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866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/>
          <a:ea typeface="MS PGothic" pitchFamily="34" charset="-128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9pPr>
    </p:titleStyle>
    <p:bodyStyle>
      <a:lvl1pPr marL="201216" indent="-20121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Lucida Sans Unicode" pitchFamily="34" charset="0"/>
        <a:buChar char="▶"/>
        <a:defRPr sz="1200">
          <a:solidFill>
            <a:srgbClr val="000000"/>
          </a:solidFill>
          <a:latin typeface="Verdana"/>
          <a:ea typeface="MS PGothic" pitchFamily="34" charset="-128"/>
          <a:cs typeface="Verdana"/>
        </a:defRPr>
      </a:lvl1pPr>
      <a:lvl2pPr marL="404813" indent="-20240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Arial" charset="0"/>
        <a:buChar char="–"/>
        <a:defRPr sz="1200">
          <a:solidFill>
            <a:srgbClr val="000000"/>
          </a:solidFill>
          <a:latin typeface="Verdana"/>
          <a:ea typeface="Arial" charset="0"/>
          <a:cs typeface="Verdana"/>
        </a:defRPr>
      </a:lvl2pPr>
      <a:lvl3pPr marL="607219" indent="-201216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Arial" charset="0"/>
        <a:buChar char="•"/>
        <a:defRPr sz="1200">
          <a:solidFill>
            <a:srgbClr val="000000"/>
          </a:solidFill>
          <a:latin typeface="Verdana"/>
          <a:ea typeface="Arial" charset="0"/>
          <a:cs typeface="Verdana"/>
        </a:defRPr>
      </a:lvl3pPr>
      <a:lvl4pPr marL="810816" indent="-20240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–"/>
        <a:defRPr sz="1200">
          <a:solidFill>
            <a:srgbClr val="000000"/>
          </a:solidFill>
          <a:latin typeface="+mn-lt"/>
          <a:ea typeface="Arial" charset="0"/>
          <a:cs typeface="+mn-cs"/>
        </a:defRPr>
      </a:lvl4pPr>
      <a:lvl5pPr marL="10120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5pPr>
      <a:lvl6pPr marL="13549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6pPr>
      <a:lvl7pPr marL="16978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7pPr>
      <a:lvl8pPr marL="20407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8pPr>
      <a:lvl9pPr marL="2383631" indent="-201216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2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0.xml"/><Relationship Id="rId1" Type="http://schemas.openxmlformats.org/officeDocument/2006/relationships/tags" Target="../tags/tag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0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5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4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7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0.xml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339726" y="2286000"/>
            <a:ext cx="88042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4">
            <a:extLst>
              <a:ext uri="{FF2B5EF4-FFF2-40B4-BE49-F238E27FC236}">
                <a16:creationId xmlns:a16="http://schemas.microsoft.com/office/drawing/2014/main" id="{5906D5AB-A71F-4899-A11E-5A485B26C9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8518" y="699542"/>
            <a:ext cx="7046689" cy="1534554"/>
          </a:xfrm>
        </p:spPr>
        <p:txBody>
          <a:bodyPr anchor="ctr"/>
          <a:lstStyle/>
          <a:p>
            <a:pPr algn="ctr"/>
            <a:r>
              <a:rPr lang="en-US" sz="2800" dirty="0"/>
              <a:t>Deinterleaving RADAR pulses</a:t>
            </a:r>
            <a:endParaRPr lang="fr-FR" sz="2800" dirty="0"/>
          </a:p>
        </p:txBody>
      </p:sp>
      <p:sp>
        <p:nvSpPr>
          <p:cNvPr id="4" name="Sous-titre 2">
            <a:extLst>
              <a:ext uri="{FF2B5EF4-FFF2-40B4-BE49-F238E27FC236}">
                <a16:creationId xmlns:a16="http://schemas.microsoft.com/office/drawing/2014/main" id="{D61C6081-205B-43BA-A1D5-AABA25E4CB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2931" y="2320746"/>
            <a:ext cx="8312194" cy="1115100"/>
          </a:xfrm>
        </p:spPr>
        <p:txBody>
          <a:bodyPr/>
          <a:lstStyle/>
          <a:p>
            <a:r>
              <a:rPr lang="fr-FR" sz="1400" dirty="0"/>
              <a:t>Atos Scientific Community</a:t>
            </a:r>
          </a:p>
          <a:p>
            <a:r>
              <a:rPr lang="fr-FR" sz="1200" dirty="0"/>
              <a:t>13/07/2021</a:t>
            </a:r>
          </a:p>
          <a:p>
            <a:endParaRPr lang="fr-FR" sz="1400" dirty="0"/>
          </a:p>
          <a:p>
            <a:endParaRPr lang="fr-FR" sz="1400" dirty="0"/>
          </a:p>
          <a:p>
            <a:r>
              <a:rPr lang="fr-FR" sz="1100" dirty="0"/>
              <a:t>Manon Mottier</a:t>
            </a:r>
          </a:p>
        </p:txBody>
      </p:sp>
    </p:spTree>
    <p:extLst>
      <p:ext uri="{BB962C8B-B14F-4D97-AF65-F5344CB8AC3E}">
        <p14:creationId xmlns:p14="http://schemas.microsoft.com/office/powerpoint/2010/main" val="207802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8747125" cy="399825"/>
          </a:xfrm>
        </p:spPr>
        <p:txBody>
          <a:bodyPr/>
          <a:lstStyle/>
          <a:p>
            <a:pPr marL="0" indent="0">
              <a:buNone/>
            </a:pPr>
            <a:r>
              <a:rPr lang="en-US" b="1" u="sng" dirty="0"/>
              <a:t>Methodology</a:t>
            </a:r>
            <a:r>
              <a:rPr lang="en-US" dirty="0"/>
              <a:t>: Implementing a two-step strategy for signal deinterlacing</a:t>
            </a:r>
          </a:p>
        </p:txBody>
      </p:sp>
      <p:graphicFrame>
        <p:nvGraphicFramePr>
          <p:cNvPr id="4" name="Espace réservé du contenu 4">
            <a:extLst>
              <a:ext uri="{FF2B5EF4-FFF2-40B4-BE49-F238E27FC236}">
                <a16:creationId xmlns:a16="http://schemas.microsoft.com/office/drawing/2014/main" id="{0F2B9908-F39C-4F6A-801E-CFF9BCEB89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5199891"/>
              </p:ext>
            </p:extLst>
          </p:nvPr>
        </p:nvGraphicFramePr>
        <p:xfrm>
          <a:off x="755576" y="1707654"/>
          <a:ext cx="7632848" cy="2520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336439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1: Clustering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u="sng" dirty="0"/>
              <a:t>Step 1: Clustering with HDBSCAN</a:t>
            </a:r>
          </a:p>
          <a:p>
            <a:pPr marL="0" indent="0">
              <a:buNone/>
            </a:pPr>
            <a:endParaRPr lang="en-US" b="1" u="sng" dirty="0"/>
          </a:p>
          <a:p>
            <a:endParaRPr lang="en-US" dirty="0"/>
          </a:p>
          <a:p>
            <a:r>
              <a:rPr lang="en-US" dirty="0"/>
              <a:t>Application of clustering algorithm on two features: Frequency and Pulse Width</a:t>
            </a:r>
          </a:p>
          <a:p>
            <a:endParaRPr lang="en-US" dirty="0"/>
          </a:p>
          <a:p>
            <a:r>
              <a:rPr lang="en-US" dirty="0"/>
              <a:t>Why HDBSCAN ?</a:t>
            </a:r>
          </a:p>
          <a:p>
            <a:endParaRPr lang="en-US" dirty="0"/>
          </a:p>
          <a:p>
            <a:pPr lvl="1"/>
            <a:r>
              <a:rPr lang="en-US" dirty="0"/>
              <a:t>Unsupervised algorithm that allows us to search for clusters of varying densities</a:t>
            </a:r>
          </a:p>
          <a:p>
            <a:pPr lvl="1"/>
            <a:r>
              <a:rPr lang="en-US" dirty="0"/>
              <a:t>Few parameters to optimize</a:t>
            </a:r>
          </a:p>
          <a:p>
            <a:endParaRPr lang="en-US" dirty="0"/>
          </a:p>
          <a:p>
            <a:r>
              <a:rPr lang="en-US" dirty="0"/>
              <a:t>Over-estimation of the number of clusters</a:t>
            </a:r>
          </a:p>
          <a:p>
            <a:endParaRPr lang="en-US" dirty="0"/>
          </a:p>
          <a:p>
            <a:pPr lvl="1"/>
            <a:r>
              <a:rPr lang="en-US" dirty="0"/>
              <a:t>Allows to receive RADARs that do not transmit continuously</a:t>
            </a:r>
          </a:p>
          <a:p>
            <a:pPr lvl="1"/>
            <a:r>
              <a:rPr lang="en-US" dirty="0"/>
              <a:t>Each cluster must not contain the observations of different RADARs</a:t>
            </a:r>
          </a:p>
        </p:txBody>
      </p:sp>
    </p:spTree>
    <p:extLst>
      <p:ext uri="{BB962C8B-B14F-4D97-AF65-F5344CB8AC3E}">
        <p14:creationId xmlns:p14="http://schemas.microsoft.com/office/powerpoint/2010/main" val="1019817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1: Clustering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u="sng" dirty="0"/>
              <a:t>HDBSCAN (Hierarchical Density-based spatial clustering of application with noise):</a:t>
            </a:r>
          </a:p>
          <a:p>
            <a:endParaRPr lang="en-US" dirty="0"/>
          </a:p>
          <a:p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onstruction of the distance matrix between the points according to the density space with the Mutual Reachability Distance</a:t>
            </a:r>
          </a:p>
          <a:p>
            <a:pPr marL="228600" indent="-228600">
              <a:buFont typeface="+mj-lt"/>
              <a:buAutoNum type="arabicPeriod"/>
            </a:pP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Building of the minimal spanning tree from these distances with Prim’s Algorithm</a:t>
            </a:r>
          </a:p>
          <a:p>
            <a:pPr marL="228600" indent="-228600">
              <a:buFont typeface="+mj-lt"/>
              <a:buAutoNum type="arabicPeriod"/>
            </a:pP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Application of a hierarchical clustering of connected components from this tree</a:t>
            </a:r>
          </a:p>
          <a:p>
            <a:pPr marL="228600" indent="-228600">
              <a:buFont typeface="+mj-lt"/>
              <a:buAutoNum type="arabicPeriod"/>
            </a:pP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Extraction of the clusters from the condensed tree</a:t>
            </a:r>
          </a:p>
        </p:txBody>
      </p:sp>
    </p:spTree>
    <p:extLst>
      <p:ext uri="{BB962C8B-B14F-4D97-AF65-F5344CB8AC3E}">
        <p14:creationId xmlns:p14="http://schemas.microsoft.com/office/powerpoint/2010/main" val="674088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1: Clustering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graphicFrame>
        <p:nvGraphicFramePr>
          <p:cNvPr id="5" name="Tableau 3">
            <a:extLst>
              <a:ext uri="{FF2B5EF4-FFF2-40B4-BE49-F238E27FC236}">
                <a16:creationId xmlns:a16="http://schemas.microsoft.com/office/drawing/2014/main" id="{C5A3ECC9-7C82-4C67-B4DE-96794AE4FE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4556936"/>
              </p:ext>
            </p:extLst>
          </p:nvPr>
        </p:nvGraphicFramePr>
        <p:xfrm>
          <a:off x="395536" y="1707654"/>
          <a:ext cx="2592288" cy="21602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8524">
                  <a:extLst>
                    <a:ext uri="{9D8B030D-6E8A-4147-A177-3AD203B41FA5}">
                      <a16:colId xmlns:a16="http://schemas.microsoft.com/office/drawing/2014/main" val="2194667135"/>
                    </a:ext>
                  </a:extLst>
                </a:gridCol>
                <a:gridCol w="806849">
                  <a:extLst>
                    <a:ext uri="{9D8B030D-6E8A-4147-A177-3AD203B41FA5}">
                      <a16:colId xmlns:a16="http://schemas.microsoft.com/office/drawing/2014/main" val="3639552737"/>
                    </a:ext>
                  </a:extLst>
                </a:gridCol>
                <a:gridCol w="766915">
                  <a:extLst>
                    <a:ext uri="{9D8B030D-6E8A-4147-A177-3AD203B41FA5}">
                      <a16:colId xmlns:a16="http://schemas.microsoft.com/office/drawing/2014/main" val="2214669457"/>
                    </a:ext>
                  </a:extLst>
                </a:gridCol>
              </a:tblGrid>
              <a:tr h="38773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luster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ulses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%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11535"/>
                  </a:ext>
                </a:extLst>
              </a:tr>
              <a:tr h="22156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-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2 417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6,7%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55894055"/>
                  </a:ext>
                </a:extLst>
              </a:tr>
              <a:tr h="22156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1 578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4,4%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97236359"/>
                  </a:ext>
                </a:extLst>
              </a:tr>
              <a:tr h="22156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3 35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9,2%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03178251"/>
                  </a:ext>
                </a:extLst>
              </a:tr>
              <a:tr h="22156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3 235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8,9%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90277160"/>
                  </a:ext>
                </a:extLst>
              </a:tr>
              <a:tr h="22156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6 577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18,1%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73068665"/>
                  </a:ext>
                </a:extLst>
              </a:tr>
              <a:tr h="22156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6 54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18%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33460137"/>
                  </a:ext>
                </a:extLst>
              </a:tr>
              <a:tr h="22156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5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6 26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17,3%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77316381"/>
                  </a:ext>
                </a:extLst>
              </a:tr>
              <a:tr h="22156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6 30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17,4%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87105140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0B5B8689-7BC9-4FE7-A23E-8233BFBCF4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484" y="960192"/>
            <a:ext cx="2780700" cy="1990154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7AD5503A-61F5-4062-938D-983057B48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7864" y="2875397"/>
            <a:ext cx="2448272" cy="1709948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1DD2C2B2-FCB4-4E36-9B7C-653B824763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0272" y="1100988"/>
            <a:ext cx="1488380" cy="1304826"/>
          </a:xfrm>
          <a:prstGeom prst="rect">
            <a:avLst/>
          </a:prstGeom>
          <a:ln w="12700">
            <a:solidFill>
              <a:srgbClr val="FFC000"/>
            </a:solidFill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1CB0BFC2-C250-449A-A204-DB9D4BDDF0AA}"/>
              </a:ext>
            </a:extLst>
          </p:cNvPr>
          <p:cNvSpPr/>
          <p:nvPr/>
        </p:nvSpPr>
        <p:spPr>
          <a:xfrm>
            <a:off x="5148064" y="1136828"/>
            <a:ext cx="504056" cy="648072"/>
          </a:xfrm>
          <a:prstGeom prst="rect">
            <a:avLst/>
          </a:prstGeom>
          <a:noFill/>
          <a:ln w="127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5" name="Connecteur droit avec flèche 24">
            <a:extLst>
              <a:ext uri="{FF2B5EF4-FFF2-40B4-BE49-F238E27FC236}">
                <a16:creationId xmlns:a16="http://schemas.microsoft.com/office/drawing/2014/main" id="{24C48A5E-C162-49AA-BD0E-3EBD3B066ADA}"/>
              </a:ext>
            </a:extLst>
          </p:cNvPr>
          <p:cNvCxnSpPr>
            <a:cxnSpLocks/>
            <a:stCxn id="23" idx="3"/>
            <a:endCxn id="21" idx="1"/>
          </p:cNvCxnSpPr>
          <p:nvPr/>
        </p:nvCxnSpPr>
        <p:spPr>
          <a:xfrm>
            <a:off x="5652120" y="1460864"/>
            <a:ext cx="1368152" cy="292537"/>
          </a:xfrm>
          <a:prstGeom prst="straightConnector1">
            <a:avLst/>
          </a:prstGeom>
          <a:ln w="12700">
            <a:solidFill>
              <a:srgbClr val="FFC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3FECAFE4-C8AE-4BEE-A1E0-B04210190A5C}"/>
              </a:ext>
            </a:extLst>
          </p:cNvPr>
          <p:cNvSpPr/>
          <p:nvPr/>
        </p:nvSpPr>
        <p:spPr>
          <a:xfrm>
            <a:off x="5187016" y="3136754"/>
            <a:ext cx="216024" cy="1206779"/>
          </a:xfrm>
          <a:prstGeom prst="rect">
            <a:avLst/>
          </a:prstGeom>
          <a:noFill/>
          <a:ln w="127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74B251A8-5640-4297-B863-FCFD9F8FEBD5}"/>
              </a:ext>
            </a:extLst>
          </p:cNvPr>
          <p:cNvCxnSpPr>
            <a:cxnSpLocks/>
            <a:stCxn id="27" idx="3"/>
            <a:endCxn id="17" idx="1"/>
          </p:cNvCxnSpPr>
          <p:nvPr/>
        </p:nvCxnSpPr>
        <p:spPr>
          <a:xfrm flipV="1">
            <a:off x="5403040" y="3598866"/>
            <a:ext cx="1713028" cy="141278"/>
          </a:xfrm>
          <a:prstGeom prst="straightConnector1">
            <a:avLst/>
          </a:prstGeom>
          <a:ln w="12700">
            <a:solidFill>
              <a:srgbClr val="FFC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Image 16">
            <a:extLst>
              <a:ext uri="{FF2B5EF4-FFF2-40B4-BE49-F238E27FC236}">
                <a16:creationId xmlns:a16="http://schemas.microsoft.com/office/drawing/2014/main" id="{C42D4571-861F-4B61-9DAA-CA045A838F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6068" y="2679832"/>
            <a:ext cx="1296144" cy="1838067"/>
          </a:xfrm>
          <a:prstGeom prst="rect">
            <a:avLst/>
          </a:prstGeom>
          <a:ln w="12700">
            <a:solidFill>
              <a:srgbClr val="FFC000"/>
            </a:solidFill>
          </a:ln>
        </p:spPr>
      </p:pic>
    </p:spTree>
    <p:extLst>
      <p:ext uri="{BB962C8B-B14F-4D97-AF65-F5344CB8AC3E}">
        <p14:creationId xmlns:p14="http://schemas.microsoft.com/office/powerpoint/2010/main" val="34930565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2: Cluster fusion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5440411" cy="3474244"/>
          </a:xfrm>
        </p:spPr>
        <p:txBody>
          <a:bodyPr/>
          <a:lstStyle/>
          <a:p>
            <a:pPr marL="0" indent="0">
              <a:buNone/>
            </a:pPr>
            <a:r>
              <a:rPr lang="en-US" sz="1100" b="1" u="sng" dirty="0"/>
              <a:t>Step 2: Cluster fusion</a:t>
            </a:r>
          </a:p>
          <a:p>
            <a:endParaRPr lang="en-US" sz="1100" dirty="0"/>
          </a:p>
          <a:p>
            <a:pPr marL="0" indent="0">
              <a:buNone/>
            </a:pPr>
            <a:r>
              <a:rPr lang="en-US" sz="1100" u="sng" dirty="0"/>
              <a:t>Development of a hierarchical clustering algorithm using optimal transport distances:</a:t>
            </a:r>
          </a:p>
          <a:p>
            <a:pPr marL="228600" indent="-228600">
              <a:buFont typeface="+mj-lt"/>
              <a:buAutoNum type="arabicPeriod"/>
            </a:pP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Dimensionality reduction: each cluster is represented by a histogram of its TOA</a:t>
            </a:r>
          </a:p>
          <a:p>
            <a:pPr marL="228600" indent="-228600">
              <a:buFont typeface="+mj-lt"/>
              <a:buAutoNum type="arabicPeriod"/>
            </a:pP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Compute distances between cluster histograms using optimal transport </a:t>
            </a:r>
          </a:p>
          <a:p>
            <a:pPr marL="228600" indent="-228600">
              <a:buFont typeface="+mj-lt"/>
              <a:buAutoNum type="arabicPeriod"/>
            </a:pP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Aggregation of the 2 closest clusters i.e., the 2 clusters with the lowest transport costs</a:t>
            </a:r>
          </a:p>
          <a:p>
            <a:pPr marL="228600" indent="-228600">
              <a:buFont typeface="+mj-lt"/>
              <a:buAutoNum type="arabicPeriod"/>
            </a:pP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Computation of new costs between old clusters and the new ones</a:t>
            </a:r>
          </a:p>
          <a:p>
            <a:pPr marL="228600" indent="-228600">
              <a:buFont typeface="+mj-lt"/>
              <a:buAutoNum type="arabicPeriod"/>
            </a:pP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Repeat steps 2 to 4 until a single cluster is obtained</a:t>
            </a:r>
          </a:p>
        </p:txBody>
      </p:sp>
      <p:grpSp>
        <p:nvGrpSpPr>
          <p:cNvPr id="5" name="Group 23">
            <a:extLst>
              <a:ext uri="{FF2B5EF4-FFF2-40B4-BE49-F238E27FC236}">
                <a16:creationId xmlns:a16="http://schemas.microsoft.com/office/drawing/2014/main" id="{CEE83A5F-5201-40F9-923B-F16E9DE6E216}"/>
              </a:ext>
            </a:extLst>
          </p:cNvPr>
          <p:cNvGrpSpPr/>
          <p:nvPr/>
        </p:nvGrpSpPr>
        <p:grpSpPr>
          <a:xfrm>
            <a:off x="6156176" y="1419622"/>
            <a:ext cx="2527756" cy="2016224"/>
            <a:chOff x="393698" y="1376361"/>
            <a:chExt cx="3997326" cy="1869680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1646C983-FB8E-4308-AC2D-2DD22801944B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rgbClr val="81BC00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</a:rPr>
                <a:t>Reminder</a:t>
              </a:r>
            </a:p>
          </p:txBody>
        </p:sp>
        <p:sp>
          <p:nvSpPr>
            <p:cNvPr id="7" name="Text Placeholder 5">
              <a:extLst>
                <a:ext uri="{FF2B5EF4-FFF2-40B4-BE49-F238E27FC236}">
                  <a16:creationId xmlns:a16="http://schemas.microsoft.com/office/drawing/2014/main" id="{D966962A-90A3-43A2-9541-02F9A44D3E47}"/>
                </a:ext>
              </a:extLst>
            </p:cNvPr>
            <p:cNvSpPr txBox="1">
              <a:spLocks/>
            </p:cNvSpPr>
            <p:nvPr/>
          </p:nvSpPr>
          <p:spPr>
            <a:xfrm>
              <a:off x="393698" y="1626041"/>
              <a:ext cx="3997325" cy="1620000"/>
            </a:xfrm>
            <a:prstGeom prst="rect">
              <a:avLst/>
            </a:prstGeom>
            <a:solidFill>
              <a:srgbClr val="DCDCDC"/>
            </a:solidFill>
            <a:ln w="12700">
              <a:noFill/>
            </a:ln>
          </p:spPr>
          <p:txBody>
            <a:bodyPr wrap="square" lIns="18288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</a:pPr>
              <a:r>
                <a: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Hierarchical Agglomerative Clustering consider all points as a singleton cluster and aggregate successively the closest clusters until a single cluster is obtained that groups all points. The fusion steps are given by a dendrogram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47636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Image 66">
            <a:extLst>
              <a:ext uri="{FF2B5EF4-FFF2-40B4-BE49-F238E27FC236}">
                <a16:creationId xmlns:a16="http://schemas.microsoft.com/office/drawing/2014/main" id="{68215280-7546-43A7-B312-5411157D39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0199" y="512268"/>
            <a:ext cx="5823801" cy="4631232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2: Cluster fusion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498" y="1034325"/>
            <a:ext cx="1984027" cy="2846148"/>
          </a:xfrm>
        </p:spPr>
        <p:txBody>
          <a:bodyPr/>
          <a:lstStyle/>
          <a:p>
            <a:pPr marL="0" indent="0">
              <a:buNone/>
            </a:pPr>
            <a:r>
              <a:rPr lang="en-US" sz="1100" b="1" u="sng" dirty="0"/>
              <a:t>Histograms:</a:t>
            </a:r>
          </a:p>
          <a:p>
            <a:pPr marL="0" indent="0">
              <a:buNone/>
            </a:pPr>
            <a:endParaRPr lang="en-US" sz="1100" b="1" dirty="0"/>
          </a:p>
          <a:p>
            <a:pPr marL="0" indent="0">
              <a:buNone/>
            </a:pPr>
            <a:endParaRPr lang="en-US" sz="1100" b="1" dirty="0"/>
          </a:p>
          <a:p>
            <a:r>
              <a:rPr lang="en-US" sz="1100" dirty="0"/>
              <a:t>Bins: according to the data size (360)</a:t>
            </a:r>
          </a:p>
          <a:p>
            <a:endParaRPr lang="en-US" sz="1100" dirty="0"/>
          </a:p>
          <a:p>
            <a:r>
              <a:rPr lang="en-US" sz="1100" dirty="0"/>
              <a:t>Variable: TOA</a:t>
            </a:r>
          </a:p>
          <a:p>
            <a:endParaRPr lang="en-US" sz="1100" dirty="0"/>
          </a:p>
          <a:p>
            <a:r>
              <a:rPr lang="en-US" sz="1100" dirty="0"/>
              <a:t>Weight: LEVEL</a:t>
            </a:r>
          </a:p>
          <a:p>
            <a:endParaRPr lang="en-US" sz="11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D6F2973-4548-4453-85DF-D5DE3AA3BCE6}"/>
              </a:ext>
            </a:extLst>
          </p:cNvPr>
          <p:cNvSpPr/>
          <p:nvPr/>
        </p:nvSpPr>
        <p:spPr>
          <a:xfrm>
            <a:off x="3851920" y="1789945"/>
            <a:ext cx="504056" cy="886022"/>
          </a:xfrm>
          <a:prstGeom prst="rect">
            <a:avLst/>
          </a:prstGeom>
          <a:noFill/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F892487-EFD0-439F-91DB-3FF6989F944D}"/>
              </a:ext>
            </a:extLst>
          </p:cNvPr>
          <p:cNvSpPr/>
          <p:nvPr/>
        </p:nvSpPr>
        <p:spPr>
          <a:xfrm>
            <a:off x="5292080" y="1789944"/>
            <a:ext cx="749325" cy="886022"/>
          </a:xfrm>
          <a:prstGeom prst="rect">
            <a:avLst/>
          </a:prstGeom>
          <a:noFill/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682FE94-0737-4387-9FDF-837A73DECF16}"/>
              </a:ext>
            </a:extLst>
          </p:cNvPr>
          <p:cNvSpPr/>
          <p:nvPr/>
        </p:nvSpPr>
        <p:spPr>
          <a:xfrm>
            <a:off x="3851920" y="2906055"/>
            <a:ext cx="504056" cy="889830"/>
          </a:xfrm>
          <a:prstGeom prst="rect">
            <a:avLst/>
          </a:prstGeom>
          <a:noFill/>
          <a:ln w="19050"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8C8BD83-E1F4-4152-BAF9-F136FBC8786B}"/>
              </a:ext>
            </a:extLst>
          </p:cNvPr>
          <p:cNvSpPr/>
          <p:nvPr/>
        </p:nvSpPr>
        <p:spPr>
          <a:xfrm>
            <a:off x="5292080" y="2906055"/>
            <a:ext cx="749325" cy="889830"/>
          </a:xfrm>
          <a:prstGeom prst="rect">
            <a:avLst/>
          </a:prstGeom>
          <a:noFill/>
          <a:ln w="19050"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C90FF84-0852-4150-9F85-ECA9AD754DA9}"/>
              </a:ext>
            </a:extLst>
          </p:cNvPr>
          <p:cNvSpPr/>
          <p:nvPr/>
        </p:nvSpPr>
        <p:spPr>
          <a:xfrm>
            <a:off x="4211960" y="673834"/>
            <a:ext cx="243640" cy="886022"/>
          </a:xfrm>
          <a:prstGeom prst="rect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DC33C10-BB24-40A3-B31F-E811FDF55AA1}"/>
              </a:ext>
            </a:extLst>
          </p:cNvPr>
          <p:cNvSpPr/>
          <p:nvPr/>
        </p:nvSpPr>
        <p:spPr>
          <a:xfrm>
            <a:off x="5764254" y="673298"/>
            <a:ext cx="175898" cy="883083"/>
          </a:xfrm>
          <a:prstGeom prst="rect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4" name="Connecteur droit avec flèche 43">
            <a:extLst>
              <a:ext uri="{FF2B5EF4-FFF2-40B4-BE49-F238E27FC236}">
                <a16:creationId xmlns:a16="http://schemas.microsoft.com/office/drawing/2014/main" id="{692A0BF8-FCC4-49A8-86F9-A67975D17EA9}"/>
              </a:ext>
            </a:extLst>
          </p:cNvPr>
          <p:cNvCxnSpPr>
            <a:cxnSpLocks/>
            <a:stCxn id="38" idx="0"/>
            <a:endCxn id="42" idx="2"/>
          </p:cNvCxnSpPr>
          <p:nvPr/>
        </p:nvCxnSpPr>
        <p:spPr>
          <a:xfrm flipV="1">
            <a:off x="4103948" y="1559856"/>
            <a:ext cx="229832" cy="23008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>
            <a:extLst>
              <a:ext uri="{FF2B5EF4-FFF2-40B4-BE49-F238E27FC236}">
                <a16:creationId xmlns:a16="http://schemas.microsoft.com/office/drawing/2014/main" id="{3FDCC14B-F13B-4B2B-9468-53B82772FF5F}"/>
              </a:ext>
            </a:extLst>
          </p:cNvPr>
          <p:cNvCxnSpPr>
            <a:cxnSpLocks/>
            <a:stCxn id="39" idx="0"/>
            <a:endCxn id="43" idx="2"/>
          </p:cNvCxnSpPr>
          <p:nvPr/>
        </p:nvCxnSpPr>
        <p:spPr>
          <a:xfrm flipV="1">
            <a:off x="5666743" y="1556381"/>
            <a:ext cx="185460" cy="23356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A4E9E0A4-B496-424B-98BC-2C68D440A694}"/>
              </a:ext>
            </a:extLst>
          </p:cNvPr>
          <p:cNvCxnSpPr>
            <a:cxnSpLocks/>
            <a:stCxn id="38" idx="2"/>
            <a:endCxn id="40" idx="0"/>
          </p:cNvCxnSpPr>
          <p:nvPr/>
        </p:nvCxnSpPr>
        <p:spPr>
          <a:xfrm>
            <a:off x="4103948" y="2675967"/>
            <a:ext cx="0" cy="230088"/>
          </a:xfrm>
          <a:prstGeom prst="straightConnector1">
            <a:avLst/>
          </a:prstGeom>
          <a:ln>
            <a:solidFill>
              <a:srgbClr val="83BE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F4C97503-8049-4DDF-A808-532BD8275381}"/>
              </a:ext>
            </a:extLst>
          </p:cNvPr>
          <p:cNvCxnSpPr>
            <a:cxnSpLocks/>
            <a:stCxn id="39" idx="2"/>
            <a:endCxn id="41" idx="0"/>
          </p:cNvCxnSpPr>
          <p:nvPr/>
        </p:nvCxnSpPr>
        <p:spPr>
          <a:xfrm>
            <a:off x="5666743" y="2675966"/>
            <a:ext cx="0" cy="230089"/>
          </a:xfrm>
          <a:prstGeom prst="straightConnector1">
            <a:avLst/>
          </a:prstGeom>
          <a:ln>
            <a:solidFill>
              <a:srgbClr val="83BE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lèche : droite à entaille 3">
            <a:extLst>
              <a:ext uri="{FF2B5EF4-FFF2-40B4-BE49-F238E27FC236}">
                <a16:creationId xmlns:a16="http://schemas.microsoft.com/office/drawing/2014/main" id="{488CD2B7-C91B-423A-8F50-85065A468F3A}"/>
              </a:ext>
            </a:extLst>
          </p:cNvPr>
          <p:cNvSpPr/>
          <p:nvPr/>
        </p:nvSpPr>
        <p:spPr>
          <a:xfrm>
            <a:off x="2178241" y="1468726"/>
            <a:ext cx="1205627" cy="408872"/>
          </a:xfrm>
          <a:prstGeom prst="notchedRightArrow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High </a:t>
            </a:r>
            <a:r>
              <a:rPr lang="fr-FR" sz="1200" b="1" dirty="0" err="1"/>
              <a:t>cost</a:t>
            </a:r>
            <a:endParaRPr lang="fr-FR" sz="1200" b="1" dirty="0"/>
          </a:p>
        </p:txBody>
      </p:sp>
      <p:sp>
        <p:nvSpPr>
          <p:cNvPr id="18" name="Flèche : droite à entaille 17">
            <a:extLst>
              <a:ext uri="{FF2B5EF4-FFF2-40B4-BE49-F238E27FC236}">
                <a16:creationId xmlns:a16="http://schemas.microsoft.com/office/drawing/2014/main" id="{DECC739D-838D-4822-99E9-3DF8833DDC77}"/>
              </a:ext>
            </a:extLst>
          </p:cNvPr>
          <p:cNvSpPr/>
          <p:nvPr/>
        </p:nvSpPr>
        <p:spPr>
          <a:xfrm>
            <a:off x="2114572" y="2623448"/>
            <a:ext cx="1205627" cy="408872"/>
          </a:xfrm>
          <a:prstGeom prst="notchedRightArrow">
            <a:avLst/>
          </a:prstGeom>
          <a:solidFill>
            <a:srgbClr val="83BE50"/>
          </a:solidFill>
          <a:ln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Low </a:t>
            </a:r>
            <a:r>
              <a:rPr lang="fr-FR" sz="1200" b="1" dirty="0" err="1"/>
              <a:t>cost</a:t>
            </a:r>
            <a:endParaRPr lang="fr-FR" sz="1200" b="1" dirty="0"/>
          </a:p>
        </p:txBody>
      </p:sp>
    </p:spTree>
    <p:extLst>
      <p:ext uri="{BB962C8B-B14F-4D97-AF65-F5344CB8AC3E}">
        <p14:creationId xmlns:p14="http://schemas.microsoft.com/office/powerpoint/2010/main" val="21639029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2: Cluster fusion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Espace réservé du contenu 2">
                <a:extLst>
                  <a:ext uri="{FF2B5EF4-FFF2-40B4-BE49-F238E27FC236}">
                    <a16:creationId xmlns:a16="http://schemas.microsoft.com/office/drawing/2014/main" id="{E44AFACB-6A01-4893-AB65-2C2AFB451DAF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58498" y="1034324"/>
                <a:ext cx="8728327" cy="3769673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sz="1100" b="1" dirty="0"/>
                  <a:t>Optimal transport:</a:t>
                </a:r>
              </a:p>
              <a:p>
                <a:pPr marL="0" indent="0">
                  <a:buNone/>
                </a:pPr>
                <a:endParaRPr lang="en-US" sz="1100" b="1" dirty="0"/>
              </a:p>
              <a:p>
                <a:r>
                  <a:rPr lang="en-US" sz="1100" dirty="0"/>
                  <a:t>Transporting distribution to another has a cost:</a:t>
                </a:r>
              </a:p>
              <a:p>
                <a:endParaRPr lang="en-US" sz="1100" dirty="0"/>
              </a:p>
              <a:p>
                <a:endParaRPr lang="en-US" sz="1100" dirty="0"/>
              </a:p>
              <a:p>
                <a:endParaRPr lang="en-US" sz="1100" dirty="0"/>
              </a:p>
              <a:p>
                <a:endParaRPr lang="en-US" sz="1100" dirty="0"/>
              </a:p>
              <a:p>
                <a:pPr marL="0" indent="0">
                  <a:buNone/>
                </a:pPr>
                <a:r>
                  <a:rPr lang="en-US" sz="1100" dirty="0"/>
                  <a:t>𝐶(𝑃): Total cost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FR" sz="11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1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fr-FR" sz="1100" b="0" i="1" smtClean="0">
                            <a:latin typeface="Cambria Math" panose="02040503050406030204" pitchFamily="18" charset="0"/>
                          </a:rPr>
                          <m:t>𝑛𝑚</m:t>
                        </m:r>
                      </m:sub>
                    </m:sSub>
                  </m:oMath>
                </a14:m>
                <a:r>
                  <a:rPr lang="en-US" sz="1100" dirty="0"/>
                  <a:t> : cost of transporting unit mass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11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1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sz="1100" dirty="0"/>
                  <a:t> t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11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1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fr-FR" sz="11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sz="1100" dirty="0"/>
                  <a:t> (transport cost)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FR" sz="11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1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𝑛𝑚</m:t>
                        </m:r>
                      </m:sub>
                    </m:sSub>
                  </m:oMath>
                </a14:m>
                <a:r>
                  <a:rPr lang="en-US" sz="1100" dirty="0"/>
                  <a:t>  : quantity of mass taken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11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sz="1100" dirty="0"/>
                  <a:t> t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11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sz="1100" dirty="0"/>
                  <a:t> (transport plan)</a:t>
                </a:r>
              </a:p>
              <a:p>
                <a:endParaRPr lang="en-US" sz="1100" dirty="0"/>
              </a:p>
              <a:p>
                <a:r>
                  <a:rPr lang="en-US" sz="1100" dirty="0"/>
                  <a:t>The optimal transport plan is a simple minimization problem:</a:t>
                </a:r>
              </a:p>
              <a:p>
                <a:endParaRPr lang="en-US" sz="1100" dirty="0"/>
              </a:p>
              <a:p>
                <a:endParaRPr lang="en-US" sz="1100" dirty="0"/>
              </a:p>
              <a:p>
                <a:endParaRPr lang="en-US" sz="1100" dirty="0"/>
              </a:p>
              <a:p>
                <a:r>
                  <a:rPr lang="en-US" sz="1100" dirty="0"/>
                  <a:t>Under this condition which confirms that the transport plan is well adapted to probability densities</a:t>
                </a:r>
              </a:p>
              <a:p>
                <a:endParaRPr lang="en-US" sz="1100" dirty="0"/>
              </a:p>
            </p:txBody>
          </p:sp>
        </mc:Choice>
        <mc:Fallback xmlns="">
          <p:sp>
            <p:nvSpPr>
              <p:cNvPr id="3" name="Espace réservé du contenu 2">
                <a:extLst>
                  <a:ext uri="{FF2B5EF4-FFF2-40B4-BE49-F238E27FC236}">
                    <a16:creationId xmlns:a16="http://schemas.microsoft.com/office/drawing/2014/main" id="{E44AFACB-6A01-4893-AB65-2C2AFB451DA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58498" y="1034324"/>
                <a:ext cx="8728327" cy="3769673"/>
              </a:xfrm>
              <a:blipFill>
                <a:blip r:embed="rId2"/>
                <a:stretch>
                  <a:fillRect l="-20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7" name="Image 16">
            <a:extLst>
              <a:ext uri="{FF2B5EF4-FFF2-40B4-BE49-F238E27FC236}">
                <a16:creationId xmlns:a16="http://schemas.microsoft.com/office/drawing/2014/main" id="{BAFF2276-39D3-488F-AB14-FC5C98204E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9872" y="1707654"/>
            <a:ext cx="2422424" cy="57606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20EFFC82-3CAD-4C97-884F-038DB623A6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1524" y="3579862"/>
            <a:ext cx="3700952" cy="439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952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2: Cluster fusion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8747124" cy="3474244"/>
          </a:xfrm>
        </p:spPr>
        <p:txBody>
          <a:bodyPr/>
          <a:lstStyle/>
          <a:p>
            <a:pPr marL="0" indent="0">
              <a:buNone/>
            </a:pPr>
            <a:r>
              <a:rPr lang="en-US" sz="1100" u="sng" dirty="0"/>
              <a:t>Construction of a decision model using several unsupervised metrics to cut the dendrogram and stop cluster fusion:</a:t>
            </a:r>
          </a:p>
          <a:p>
            <a:pPr marL="0" indent="0">
              <a:buNone/>
            </a:pPr>
            <a:endParaRPr lang="en-US" sz="1100" u="sng" dirty="0"/>
          </a:p>
          <a:p>
            <a:pPr marL="0" indent="0">
              <a:buNone/>
            </a:pPr>
            <a:endParaRPr lang="en-US" sz="1100" u="sng" dirty="0"/>
          </a:p>
          <a:p>
            <a:r>
              <a:rPr lang="en-US" sz="1100" dirty="0"/>
              <a:t>Silhouette score: measures the cluster homogeneity using the difference between all the points in the same cluster and the distance to the points of the other clusters</a:t>
            </a:r>
          </a:p>
          <a:p>
            <a:endParaRPr lang="en-US" sz="1100" dirty="0"/>
          </a:p>
          <a:p>
            <a:pPr lvl="1"/>
            <a:r>
              <a:rPr lang="en-US" sz="1100" dirty="0"/>
              <a:t>Use of 2 different distances for more robustness</a:t>
            </a:r>
          </a:p>
          <a:p>
            <a:endParaRPr lang="en-US" sz="1100" dirty="0"/>
          </a:p>
          <a:p>
            <a:r>
              <a:rPr lang="en-US" sz="1100" dirty="0" err="1"/>
              <a:t>Calinski-Harabasz</a:t>
            </a:r>
            <a:r>
              <a:rPr lang="en-US" sz="1100" dirty="0"/>
              <a:t> score: measures the proportion of inter-group variance to intra-group variance (also called variance ratio criterion) </a:t>
            </a:r>
          </a:p>
          <a:p>
            <a:endParaRPr lang="en-US" sz="1100" dirty="0"/>
          </a:p>
          <a:p>
            <a:r>
              <a:rPr lang="en-US" sz="1100" dirty="0"/>
              <a:t>Davies-Bouldin score: measures homogeneity using the distance between a point and its centroid and the distance between the other centroids</a:t>
            </a:r>
          </a:p>
          <a:p>
            <a:endParaRPr lang="en-US" sz="1100" dirty="0"/>
          </a:p>
          <a:p>
            <a:pPr lvl="4"/>
            <a:r>
              <a:rPr lang="en-US" sz="1100" b="1" dirty="0">
                <a:solidFill>
                  <a:srgbClr val="C00000"/>
                </a:solidFill>
              </a:rPr>
              <a:t>Apply Majority rule</a:t>
            </a:r>
          </a:p>
        </p:txBody>
      </p:sp>
    </p:spTree>
    <p:extLst>
      <p:ext uri="{BB962C8B-B14F-4D97-AF65-F5344CB8AC3E}">
        <p14:creationId xmlns:p14="http://schemas.microsoft.com/office/powerpoint/2010/main" val="1530871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2: Cluster fusion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A0E5E98-9048-4792-A3C8-293F22DA25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499114"/>
              </p:ext>
            </p:extLst>
          </p:nvPr>
        </p:nvGraphicFramePr>
        <p:xfrm>
          <a:off x="1187624" y="1923678"/>
          <a:ext cx="6475065" cy="2354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013">
                  <a:extLst>
                    <a:ext uri="{9D8B030D-6E8A-4147-A177-3AD203B41FA5}">
                      <a16:colId xmlns:a16="http://schemas.microsoft.com/office/drawing/2014/main" val="2194667135"/>
                    </a:ext>
                  </a:extLst>
                </a:gridCol>
                <a:gridCol w="1295013">
                  <a:extLst>
                    <a:ext uri="{9D8B030D-6E8A-4147-A177-3AD203B41FA5}">
                      <a16:colId xmlns:a16="http://schemas.microsoft.com/office/drawing/2014/main" val="3639552737"/>
                    </a:ext>
                  </a:extLst>
                </a:gridCol>
                <a:gridCol w="1295013">
                  <a:extLst>
                    <a:ext uri="{9D8B030D-6E8A-4147-A177-3AD203B41FA5}">
                      <a16:colId xmlns:a16="http://schemas.microsoft.com/office/drawing/2014/main" val="2214669457"/>
                    </a:ext>
                  </a:extLst>
                </a:gridCol>
                <a:gridCol w="1295013">
                  <a:extLst>
                    <a:ext uri="{9D8B030D-6E8A-4147-A177-3AD203B41FA5}">
                      <a16:colId xmlns:a16="http://schemas.microsoft.com/office/drawing/2014/main" val="8813559"/>
                    </a:ext>
                  </a:extLst>
                </a:gridCol>
                <a:gridCol w="1295013">
                  <a:extLst>
                    <a:ext uri="{9D8B030D-6E8A-4147-A177-3AD203B41FA5}">
                      <a16:colId xmlns:a16="http://schemas.microsoft.com/office/drawing/2014/main" val="2215192493"/>
                    </a:ext>
                  </a:extLst>
                </a:gridCol>
              </a:tblGrid>
              <a:tr h="966929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err="1"/>
                        <a:t>Number</a:t>
                      </a:r>
                      <a:r>
                        <a:rPr lang="fr-FR" sz="1100" dirty="0"/>
                        <a:t> of cluster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Silhouette score (distance </a:t>
                      </a:r>
                      <a:r>
                        <a:rPr lang="fr-FR" sz="1100" dirty="0" err="1"/>
                        <a:t>euclidean</a:t>
                      </a:r>
                      <a:r>
                        <a:rPr lang="fr-FR" sz="1100" dirty="0"/>
                        <a:t>)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Silhouette score (distance </a:t>
                      </a:r>
                      <a:r>
                        <a:rPr lang="fr-FR" sz="1100" dirty="0" err="1"/>
                        <a:t>cosine</a:t>
                      </a:r>
                      <a:r>
                        <a:rPr lang="fr-FR" sz="1100" dirty="0"/>
                        <a:t>)</a:t>
                      </a:r>
                    </a:p>
                    <a:p>
                      <a:pPr algn="ctr"/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err="1"/>
                        <a:t>Calinski-Harabasz</a:t>
                      </a:r>
                      <a:r>
                        <a:rPr lang="fr-FR" sz="1100" dirty="0"/>
                        <a:t> score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avies-</a:t>
                      </a:r>
                      <a:r>
                        <a:rPr lang="fr-FR" sz="1100" dirty="0" err="1"/>
                        <a:t>Bouldin</a:t>
                      </a:r>
                      <a:r>
                        <a:rPr lang="fr-FR" sz="1100" dirty="0"/>
                        <a:t> score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3411535"/>
                  </a:ext>
                </a:extLst>
              </a:tr>
              <a:tr h="23123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effectLst/>
                        </a:rPr>
                        <a:t>2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0,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0,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4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55894055"/>
                  </a:ext>
                </a:extLst>
              </a:tr>
              <a:tr h="23123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effectLst/>
                        </a:rPr>
                        <a:t>3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8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7236359"/>
                  </a:ext>
                </a:extLst>
              </a:tr>
              <a:tr h="23123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effectLst/>
                        </a:rPr>
                        <a:t>4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,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03178251"/>
                  </a:ext>
                </a:extLst>
              </a:tr>
              <a:tr h="23123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effectLst/>
                        </a:rPr>
                        <a:t>5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,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90277160"/>
                  </a:ext>
                </a:extLst>
              </a:tr>
              <a:tr h="23123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effectLst/>
                        </a:rPr>
                        <a:t>6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,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06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73068665"/>
                  </a:ext>
                </a:extLst>
              </a:tr>
              <a:tr h="23123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effectLst/>
                        </a:rPr>
                        <a:t>7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,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62 5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5119587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524820F8-E444-4A0F-B08E-E91315C0F7B1}"/>
              </a:ext>
            </a:extLst>
          </p:cNvPr>
          <p:cNvSpPr/>
          <p:nvPr/>
        </p:nvSpPr>
        <p:spPr>
          <a:xfrm>
            <a:off x="1543078" y="2906497"/>
            <a:ext cx="5909242" cy="276907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Accolade fermante 5">
            <a:extLst>
              <a:ext uri="{FF2B5EF4-FFF2-40B4-BE49-F238E27FC236}">
                <a16:creationId xmlns:a16="http://schemas.microsoft.com/office/drawing/2014/main" id="{CF8F41E5-DE3E-4B2B-A170-C62DEC5F58CF}"/>
              </a:ext>
            </a:extLst>
          </p:cNvPr>
          <p:cNvSpPr/>
          <p:nvPr/>
        </p:nvSpPr>
        <p:spPr>
          <a:xfrm rot="16200000">
            <a:off x="4224117" y="-200049"/>
            <a:ext cx="282157" cy="3725979"/>
          </a:xfrm>
          <a:prstGeom prst="rightBrace">
            <a:avLst/>
          </a:prstGeom>
          <a:ln w="28575">
            <a:solidFill>
              <a:srgbClr val="83BE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83BE50"/>
              </a:solidFill>
            </a:endParaRPr>
          </a:p>
        </p:txBody>
      </p:sp>
      <p:sp>
        <p:nvSpPr>
          <p:cNvPr id="7" name="Accolade fermante 6">
            <a:extLst>
              <a:ext uri="{FF2B5EF4-FFF2-40B4-BE49-F238E27FC236}">
                <a16:creationId xmlns:a16="http://schemas.microsoft.com/office/drawing/2014/main" id="{C13E532F-5BFD-4144-A2E4-D5282336146F}"/>
              </a:ext>
            </a:extLst>
          </p:cNvPr>
          <p:cNvSpPr/>
          <p:nvPr/>
        </p:nvSpPr>
        <p:spPr>
          <a:xfrm rot="16200000">
            <a:off x="6850134" y="1043928"/>
            <a:ext cx="282158" cy="1238024"/>
          </a:xfrm>
          <a:prstGeom prst="rightBrace">
            <a:avLst>
              <a:gd name="adj1" fmla="val 8333"/>
              <a:gd name="adj2" fmla="val 49494"/>
            </a:avLst>
          </a:prstGeom>
          <a:ln w="28575">
            <a:solidFill>
              <a:srgbClr val="FE581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D12B77C-3F23-4F09-ACB6-F5070F554783}"/>
              </a:ext>
            </a:extLst>
          </p:cNvPr>
          <p:cNvSpPr txBox="1"/>
          <p:nvPr/>
        </p:nvSpPr>
        <p:spPr>
          <a:xfrm>
            <a:off x="3395190" y="1037657"/>
            <a:ext cx="2453229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83BE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r is better</a:t>
            </a:r>
            <a:endParaRPr lang="fr-FR" sz="1400" b="1" dirty="0">
              <a:solidFill>
                <a:srgbClr val="83BE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2F2963F-EEE0-4041-B51C-8C7A69A82690}"/>
              </a:ext>
            </a:extLst>
          </p:cNvPr>
          <p:cNvSpPr txBox="1"/>
          <p:nvPr/>
        </p:nvSpPr>
        <p:spPr>
          <a:xfrm>
            <a:off x="6474696" y="946485"/>
            <a:ext cx="118799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err="1">
                <a:solidFill>
                  <a:srgbClr val="FE58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</a:t>
            </a:r>
            <a:r>
              <a:rPr lang="fr-FR" sz="1400" b="1" dirty="0">
                <a:solidFill>
                  <a:srgbClr val="FE58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b="1" dirty="0" err="1">
                <a:solidFill>
                  <a:srgbClr val="FE58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fr-FR" sz="1400" b="1" dirty="0">
                <a:solidFill>
                  <a:srgbClr val="FE58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b="1" dirty="0" err="1">
                <a:solidFill>
                  <a:srgbClr val="FE58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</a:t>
            </a:r>
            <a:endParaRPr lang="fr-FR" sz="1400" b="1" dirty="0">
              <a:solidFill>
                <a:srgbClr val="FE58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7758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2: Cluster fusion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1768003" cy="253916"/>
          </a:xfrm>
        </p:spPr>
        <p:txBody>
          <a:bodyPr/>
          <a:lstStyle/>
          <a:p>
            <a:pPr marL="0" indent="0">
              <a:buNone/>
            </a:pPr>
            <a:r>
              <a:rPr lang="en-US" sz="1100" b="1" u="sng" dirty="0"/>
              <a:t>Dendrogram</a:t>
            </a:r>
            <a:endParaRPr lang="en-US" sz="1100" dirty="0"/>
          </a:p>
        </p:txBody>
      </p:sp>
      <p:sp>
        <p:nvSpPr>
          <p:cNvPr id="8" name="Flèche : droite à entaille 7">
            <a:extLst>
              <a:ext uri="{FF2B5EF4-FFF2-40B4-BE49-F238E27FC236}">
                <a16:creationId xmlns:a16="http://schemas.microsoft.com/office/drawing/2014/main" id="{FDFB5E82-DC7D-4950-B4FF-237A525D2274}"/>
              </a:ext>
            </a:extLst>
          </p:cNvPr>
          <p:cNvSpPr/>
          <p:nvPr/>
        </p:nvSpPr>
        <p:spPr>
          <a:xfrm>
            <a:off x="1835696" y="2571750"/>
            <a:ext cx="1205627" cy="408872"/>
          </a:xfrm>
          <a:prstGeom prst="notchedRightArrow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Best </a:t>
            </a:r>
            <a:r>
              <a:rPr lang="fr-FR" sz="1200" b="1" dirty="0" err="1"/>
              <a:t>cut</a:t>
            </a:r>
            <a:endParaRPr lang="fr-FR" sz="1200" b="1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50B7557F-A902-4F2B-9BCF-565C1AE18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7340" y="699542"/>
            <a:ext cx="5876660" cy="442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137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073557-2DEB-4DBE-98F0-08CE88D997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ontext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0A9607-46FA-4001-ACFE-E7CE5C3CA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987574"/>
            <a:ext cx="6507832" cy="3672408"/>
          </a:xfrm>
        </p:spPr>
        <p:txBody>
          <a:bodyPr/>
          <a:lstStyle/>
          <a:p>
            <a:pPr marL="0" indent="0">
              <a:buNone/>
            </a:pPr>
            <a:r>
              <a:rPr lang="en-US" sz="900" b="1" u="sng" dirty="0"/>
              <a:t>Industrial thesis (CIFRE):</a:t>
            </a:r>
          </a:p>
          <a:p>
            <a:pPr marL="0" indent="0">
              <a:buNone/>
            </a:pPr>
            <a:endParaRPr lang="en-US" sz="800" b="1" u="sng" dirty="0"/>
          </a:p>
          <a:p>
            <a:r>
              <a:rPr lang="en-US" sz="900" dirty="0"/>
              <a:t>The Signals and System Laboratory of </a:t>
            </a:r>
            <a:r>
              <a:rPr lang="en-US" sz="900" dirty="0" err="1"/>
              <a:t>CentraleSupélec</a:t>
            </a:r>
            <a:r>
              <a:rPr lang="en-US" sz="900" dirty="0"/>
              <a:t> </a:t>
            </a:r>
            <a:br>
              <a:rPr lang="en-US" sz="900" dirty="0"/>
            </a:br>
            <a:endParaRPr lang="en-US" sz="1000" dirty="0"/>
          </a:p>
          <a:p>
            <a:r>
              <a:rPr lang="en-US" sz="900" dirty="0"/>
              <a:t>AVANTIX </a:t>
            </a:r>
            <a:br>
              <a:rPr lang="en-US" sz="900" dirty="0"/>
            </a:br>
            <a:endParaRPr lang="en-US" sz="1000" dirty="0"/>
          </a:p>
          <a:p>
            <a:r>
              <a:rPr lang="en-US" sz="900" dirty="0" err="1"/>
              <a:t>Phd</a:t>
            </a:r>
            <a:r>
              <a:rPr lang="en-US" sz="900" dirty="0"/>
              <a:t> student, 2</a:t>
            </a:r>
            <a:r>
              <a:rPr lang="en-US" sz="900" baseline="30000" dirty="0"/>
              <a:t>nd</a:t>
            </a:r>
            <a:r>
              <a:rPr lang="en-US" sz="900" dirty="0"/>
              <a:t> year</a:t>
            </a:r>
          </a:p>
          <a:p>
            <a:pPr marL="0" indent="0">
              <a:buNone/>
            </a:pPr>
            <a:endParaRPr lang="en-US" sz="100" dirty="0"/>
          </a:p>
          <a:p>
            <a:pPr marL="0" indent="0">
              <a:buNone/>
            </a:pPr>
            <a:endParaRPr lang="en-US" sz="1000" dirty="0"/>
          </a:p>
          <a:p>
            <a:pPr marL="0" indent="0">
              <a:buNone/>
            </a:pPr>
            <a:endParaRPr lang="en-US" sz="1000" dirty="0"/>
          </a:p>
          <a:p>
            <a:pPr marL="0" indent="0">
              <a:buNone/>
            </a:pPr>
            <a:r>
              <a:rPr lang="en-US" sz="900" b="1" u="sng" dirty="0"/>
              <a:t>AVANTIX (ATOS Group)</a:t>
            </a:r>
          </a:p>
          <a:p>
            <a:pPr marL="0" indent="0">
              <a:buNone/>
            </a:pPr>
            <a:endParaRPr lang="en-US" sz="400" dirty="0"/>
          </a:p>
          <a:p>
            <a:r>
              <a:rPr lang="en-US" sz="900" dirty="0"/>
              <a:t>French company specialized in Electronic Warfare</a:t>
            </a:r>
            <a:br>
              <a:rPr lang="en-US" sz="900" dirty="0"/>
            </a:br>
            <a:endParaRPr lang="en-US" sz="1000" dirty="0"/>
          </a:p>
          <a:p>
            <a:r>
              <a:rPr lang="en-US" sz="900" dirty="0"/>
              <a:t>Designs critical high-tech systems to provide homeland protection and military forces</a:t>
            </a:r>
          </a:p>
          <a:p>
            <a:endParaRPr lang="en-US" sz="1000" dirty="0"/>
          </a:p>
          <a:p>
            <a:r>
              <a:rPr lang="en-US" sz="900" dirty="0"/>
              <a:t>Radar processing chain</a:t>
            </a:r>
          </a:p>
          <a:p>
            <a:endParaRPr lang="en-US" sz="500" dirty="0"/>
          </a:p>
          <a:p>
            <a:pPr lvl="2"/>
            <a:r>
              <a:rPr lang="en-US" sz="900" dirty="0"/>
              <a:t>Data processing based on the interception of a signal by a listening system</a:t>
            </a:r>
            <a:endParaRPr lang="en-US" sz="1000" dirty="0"/>
          </a:p>
          <a:p>
            <a:pPr lvl="2"/>
            <a:r>
              <a:rPr lang="en-US" sz="900" dirty="0"/>
              <a:t>Provides strategic information to military platforms</a:t>
            </a:r>
          </a:p>
          <a:p>
            <a:pPr lvl="2"/>
            <a:endParaRPr lang="en-US" sz="400" dirty="0"/>
          </a:p>
          <a:p>
            <a:pPr lvl="4"/>
            <a:r>
              <a:rPr lang="en-US" sz="900" dirty="0"/>
              <a:t>Identification</a:t>
            </a:r>
          </a:p>
          <a:p>
            <a:pPr lvl="4"/>
            <a:r>
              <a:rPr lang="en-US" sz="900" dirty="0"/>
              <a:t>Interpretation of the situation</a:t>
            </a:r>
          </a:p>
          <a:p>
            <a:pPr lvl="4"/>
            <a:r>
              <a:rPr lang="en-US" sz="900" dirty="0"/>
              <a:t>Threat </a:t>
            </a:r>
            <a:r>
              <a:rPr lang="en-US" sz="900" dirty="0" err="1"/>
              <a:t>asssessment</a:t>
            </a:r>
            <a:r>
              <a:rPr lang="en-US" sz="900" dirty="0"/>
              <a:t>, etc.</a:t>
            </a:r>
          </a:p>
          <a:p>
            <a:endParaRPr lang="en-US" sz="900" dirty="0"/>
          </a:p>
          <a:p>
            <a:pPr marL="0" indent="0">
              <a:buNone/>
            </a:pPr>
            <a:endParaRPr lang="en-US" sz="900" dirty="0"/>
          </a:p>
          <a:p>
            <a:pPr marL="0" indent="0">
              <a:buNone/>
            </a:pPr>
            <a:endParaRPr lang="fr-FR" sz="900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E0DB903-5C10-4464-B665-E6C806FE67E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359" y="1078302"/>
            <a:ext cx="1296144" cy="583265"/>
          </a:xfrm>
          <a:prstGeom prst="rect">
            <a:avLst/>
          </a:prstGeom>
        </p:spPr>
      </p:pic>
      <p:pic>
        <p:nvPicPr>
          <p:cNvPr id="5" name="Picture 2" descr="Université Paris-Saclay">
            <a:extLst>
              <a:ext uri="{FF2B5EF4-FFF2-40B4-BE49-F238E27FC236}">
                <a16:creationId xmlns:a16="http://schemas.microsoft.com/office/drawing/2014/main" id="{F3B03A96-638F-46B5-9A1E-0922F0B9FA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95993" y="1761806"/>
            <a:ext cx="1144875" cy="1099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AA256660-0AC4-4D0D-8152-BBBE3D857E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9985" y="3283912"/>
            <a:ext cx="2176889" cy="939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9884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2: Cluster fusion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1840011" cy="399825"/>
          </a:xfrm>
        </p:spPr>
        <p:txBody>
          <a:bodyPr/>
          <a:lstStyle/>
          <a:p>
            <a:pPr marL="0" indent="0">
              <a:buNone/>
            </a:pPr>
            <a:r>
              <a:rPr lang="en-US" sz="1100" b="1" u="sng" dirty="0"/>
              <a:t>Final groupings </a:t>
            </a:r>
          </a:p>
          <a:p>
            <a:endParaRPr lang="en-US" sz="1100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8FD71A0-4734-491A-8A16-688223158C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2717" y="627534"/>
            <a:ext cx="6211282" cy="442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1650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oposed</a:t>
            </a:r>
            <a:r>
              <a:rPr lang="fr-FR" dirty="0"/>
              <a:t> </a:t>
            </a:r>
            <a:r>
              <a:rPr lang="fr-FR" dirty="0" err="1"/>
              <a:t>approach</a:t>
            </a:r>
            <a:br>
              <a:rPr lang="fr-FR" dirty="0"/>
            </a:br>
            <a:r>
              <a:rPr lang="fr-FR" sz="1200" b="0" dirty="0" err="1"/>
              <a:t>Step</a:t>
            </a:r>
            <a:r>
              <a:rPr lang="fr-FR" sz="1200" b="0" dirty="0"/>
              <a:t> 2: Cluster fusion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4576315" cy="3474244"/>
          </a:xfrm>
        </p:spPr>
        <p:txBody>
          <a:bodyPr/>
          <a:lstStyle/>
          <a:p>
            <a:pPr marL="0" indent="0">
              <a:buNone/>
            </a:pPr>
            <a:r>
              <a:rPr lang="en-US" sz="1100" b="1" u="sng" dirty="0"/>
              <a:t>Quality of fusion:</a:t>
            </a:r>
          </a:p>
          <a:p>
            <a:pPr marL="0" indent="0">
              <a:buNone/>
            </a:pPr>
            <a:endParaRPr lang="en-US" sz="1100" b="1" u="sng" dirty="0"/>
          </a:p>
          <a:p>
            <a:pPr marL="0" indent="0">
              <a:buNone/>
            </a:pPr>
            <a:r>
              <a:rPr lang="en-US" sz="1100" dirty="0"/>
              <a:t>Construction of an evaluation model to measure the quality of fusion based on 3 existing criteria:</a:t>
            </a:r>
            <a:br>
              <a:rPr lang="en-US" sz="1100" dirty="0"/>
            </a:br>
            <a:endParaRPr lang="en-US" sz="1100" dirty="0"/>
          </a:p>
          <a:p>
            <a:r>
              <a:rPr lang="en-US" sz="1100" dirty="0"/>
              <a:t>Homogeneity: measures if all points from a given cluster belong to the same class (varies between 0 and 1, 1 indicating a perfect homogeneity within the cluster)</a:t>
            </a:r>
          </a:p>
          <a:p>
            <a:endParaRPr lang="en-US" sz="1100" dirty="0"/>
          </a:p>
          <a:p>
            <a:r>
              <a:rPr lang="en-US" sz="1100" dirty="0"/>
              <a:t>Completeness: measures if all points of a given class are grouped in a single cluster (varies between 0 and 1, 1 indicating no dispersion of the class data among several clusters)</a:t>
            </a:r>
          </a:p>
          <a:p>
            <a:endParaRPr lang="en-US" sz="1100" dirty="0"/>
          </a:p>
          <a:p>
            <a:r>
              <a:rPr lang="en-US" sz="1100" dirty="0"/>
              <a:t>Unclassified rate: measures the amount of data that is lost in the process </a:t>
            </a:r>
          </a:p>
          <a:p>
            <a:pPr marL="0" indent="0">
              <a:buNone/>
            </a:pPr>
            <a:endParaRPr lang="en-US" sz="11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2A6FA376-3871-4C64-ACBF-87D604139D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4207888"/>
              </p:ext>
            </p:extLst>
          </p:nvPr>
        </p:nvGraphicFramePr>
        <p:xfrm>
          <a:off x="5652121" y="1128695"/>
          <a:ext cx="2448272" cy="866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8901">
                  <a:extLst>
                    <a:ext uri="{9D8B030D-6E8A-4147-A177-3AD203B41FA5}">
                      <a16:colId xmlns:a16="http://schemas.microsoft.com/office/drawing/2014/main" val="2194667135"/>
                    </a:ext>
                  </a:extLst>
                </a:gridCol>
                <a:gridCol w="819371">
                  <a:extLst>
                    <a:ext uri="{9D8B030D-6E8A-4147-A177-3AD203B41FA5}">
                      <a16:colId xmlns:a16="http://schemas.microsoft.com/office/drawing/2014/main" val="3639552737"/>
                    </a:ext>
                  </a:extLst>
                </a:gridCol>
              </a:tblGrid>
              <a:tr h="318351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err="1"/>
                        <a:t>Statistics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Value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11535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Homogeneity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>
                          <a:effectLst/>
                        </a:rPr>
                        <a:t>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55894055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Completeness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>
                          <a:effectLst/>
                        </a:rPr>
                        <a:t>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97236359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Unclassified</a:t>
                      </a:r>
                      <a:r>
                        <a:rPr lang="fr-FR" sz="1200" u="none" strike="noStrike" dirty="0">
                          <a:effectLst/>
                        </a:rPr>
                        <a:t> rate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>
                          <a:effectLst/>
                        </a:rPr>
                        <a:t>6,3%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03178251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6DCEB313-5AE1-4FAE-87E3-D662BE724D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9910" y="2211710"/>
            <a:ext cx="3610463" cy="242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30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33368B-84A1-42A5-98F7-7F890C5A4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13633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23C6A5D-8722-421C-9B92-FAE0DFB8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pplication case 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69705C6-D084-4A36-9996-8490087A53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8702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5355703" cy="570309"/>
          </a:xfrm>
        </p:spPr>
        <p:txBody>
          <a:bodyPr/>
          <a:lstStyle/>
          <a:p>
            <a:r>
              <a:rPr lang="fr-FR" dirty="0"/>
              <a:t>Initial data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5C0D9CA-84A7-4AEB-A415-80CF36EB53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825" y="344149"/>
            <a:ext cx="6156176" cy="4799351"/>
          </a:xfrm>
          <a:prstGeom prst="rect">
            <a:avLst/>
          </a:prstGeom>
        </p:spPr>
      </p:pic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A7C04D10-07CF-408E-9A17-6B5DB770F2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2920131" cy="3474244"/>
          </a:xfrm>
        </p:spPr>
        <p:txBody>
          <a:bodyPr/>
          <a:lstStyle/>
          <a:p>
            <a:pPr marL="0" indent="0">
              <a:buNone/>
            </a:pPr>
            <a:endParaRPr lang="en-US" sz="1100" dirty="0"/>
          </a:p>
          <a:p>
            <a:r>
              <a:rPr lang="en-US" sz="1100" dirty="0"/>
              <a:t>3 330 pulses</a:t>
            </a:r>
          </a:p>
          <a:p>
            <a:endParaRPr lang="en-US" sz="1100" dirty="0"/>
          </a:p>
          <a:p>
            <a:r>
              <a:rPr lang="en-US" sz="1100" dirty="0"/>
              <a:t>5 Radars</a:t>
            </a:r>
          </a:p>
          <a:p>
            <a:endParaRPr lang="en-US" sz="1100" dirty="0"/>
          </a:p>
          <a:p>
            <a:pPr lvl="1"/>
            <a:r>
              <a:rPr lang="en-US" sz="1100" dirty="0"/>
              <a:t>2 transmit on the same frequency band (around 3000 MZ)</a:t>
            </a:r>
          </a:p>
          <a:p>
            <a:pPr lvl="1"/>
            <a:endParaRPr lang="en-US" sz="1100" dirty="0"/>
          </a:p>
          <a:p>
            <a:pPr lvl="1"/>
            <a:r>
              <a:rPr lang="en-US" sz="1100" dirty="0"/>
              <a:t>Slight spread of the pulse width</a:t>
            </a:r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12836664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E6AD32D5-5A61-4435-8524-4098166706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825" y="507232"/>
            <a:ext cx="6156176" cy="4636267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1" y="282179"/>
            <a:ext cx="2928740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1: Clustering</a:t>
            </a:r>
            <a:br>
              <a:rPr lang="fr-FR" dirty="0"/>
            </a:br>
            <a:r>
              <a:rPr lang="fr-FR" sz="1200" b="0" dirty="0"/>
              <a:t>HDBSCAN</a:t>
            </a:r>
            <a:endParaRPr lang="fr-FR" dirty="0"/>
          </a:p>
        </p:txBody>
      </p:sp>
      <p:graphicFrame>
        <p:nvGraphicFramePr>
          <p:cNvPr id="7" name="Tableau 3">
            <a:extLst>
              <a:ext uri="{FF2B5EF4-FFF2-40B4-BE49-F238E27FC236}">
                <a16:creationId xmlns:a16="http://schemas.microsoft.com/office/drawing/2014/main" id="{F7CDFF24-F87B-430B-8E80-FB2164C430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386839"/>
              </p:ext>
            </p:extLst>
          </p:nvPr>
        </p:nvGraphicFramePr>
        <p:xfrm>
          <a:off x="395536" y="1458974"/>
          <a:ext cx="2304256" cy="15168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5355">
                  <a:extLst>
                    <a:ext uri="{9D8B030D-6E8A-4147-A177-3AD203B41FA5}">
                      <a16:colId xmlns:a16="http://schemas.microsoft.com/office/drawing/2014/main" val="2194667135"/>
                    </a:ext>
                  </a:extLst>
                </a:gridCol>
                <a:gridCol w="717199">
                  <a:extLst>
                    <a:ext uri="{9D8B030D-6E8A-4147-A177-3AD203B41FA5}">
                      <a16:colId xmlns:a16="http://schemas.microsoft.com/office/drawing/2014/main" val="3639552737"/>
                    </a:ext>
                  </a:extLst>
                </a:gridCol>
                <a:gridCol w="681702">
                  <a:extLst>
                    <a:ext uri="{9D8B030D-6E8A-4147-A177-3AD203B41FA5}">
                      <a16:colId xmlns:a16="http://schemas.microsoft.com/office/drawing/2014/main" val="2214669457"/>
                    </a:ext>
                  </a:extLst>
                </a:gridCol>
              </a:tblGrid>
              <a:tr h="27673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Cluster</a:t>
                      </a:r>
                      <a:endParaRPr lang="fr-FR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Pulses</a:t>
                      </a:r>
                      <a:endParaRPr lang="fr-FR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</a:t>
                      </a:r>
                      <a:endParaRPr lang="fr-FR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11535"/>
                  </a:ext>
                </a:extLst>
              </a:tr>
              <a:tr h="15813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55894055"/>
                  </a:ext>
                </a:extLst>
              </a:tr>
              <a:tr h="15813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7236359"/>
                  </a:ext>
                </a:extLst>
              </a:tr>
              <a:tr h="15813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03178251"/>
                  </a:ext>
                </a:extLst>
              </a:tr>
              <a:tr h="15813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90277160"/>
                  </a:ext>
                </a:extLst>
              </a:tr>
              <a:tr h="15813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73068665"/>
                  </a:ext>
                </a:extLst>
              </a:tr>
              <a:tr h="15813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33460137"/>
                  </a:ext>
                </a:extLst>
              </a:tr>
              <a:tr h="15813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,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77316381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54C086A5-C1DD-4757-97D4-EE753A14BB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9351" y="3124692"/>
            <a:ext cx="343944" cy="504056"/>
          </a:xfrm>
          <a:prstGeom prst="rect">
            <a:avLst/>
          </a:prstGeom>
          <a:ln w="12700">
            <a:solidFill>
              <a:srgbClr val="C00000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B5B6018-42B2-4159-87E1-715A242EC33C}"/>
              </a:ext>
            </a:extLst>
          </p:cNvPr>
          <p:cNvSpPr/>
          <p:nvPr/>
        </p:nvSpPr>
        <p:spPr>
          <a:xfrm>
            <a:off x="8820472" y="4561214"/>
            <a:ext cx="144016" cy="242784"/>
          </a:xfrm>
          <a:prstGeom prst="rect">
            <a:avLst/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C81BB5AB-666F-4C1E-A738-77E1A0F99787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8323295" y="3376720"/>
            <a:ext cx="497177" cy="1305886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Image 19">
            <a:extLst>
              <a:ext uri="{FF2B5EF4-FFF2-40B4-BE49-F238E27FC236}">
                <a16:creationId xmlns:a16="http://schemas.microsoft.com/office/drawing/2014/main" id="{5663609C-F60D-4837-89D8-9E68343FA7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31194" y="3124692"/>
            <a:ext cx="394321" cy="879006"/>
          </a:xfrm>
          <a:prstGeom prst="rect">
            <a:avLst/>
          </a:prstGeom>
          <a:ln w="12700">
            <a:solidFill>
              <a:srgbClr val="C00000"/>
            </a:solidFill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7D337A9-0C93-49FA-8743-BCBFF2261ACE}"/>
              </a:ext>
            </a:extLst>
          </p:cNvPr>
          <p:cNvSpPr/>
          <p:nvPr/>
        </p:nvSpPr>
        <p:spPr>
          <a:xfrm>
            <a:off x="6633869" y="2975864"/>
            <a:ext cx="144016" cy="1252069"/>
          </a:xfrm>
          <a:prstGeom prst="rect">
            <a:avLst/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2" name="Connecteur droit avec flèche 21">
            <a:extLst>
              <a:ext uri="{FF2B5EF4-FFF2-40B4-BE49-F238E27FC236}">
                <a16:creationId xmlns:a16="http://schemas.microsoft.com/office/drawing/2014/main" id="{2CAF9F89-92CA-4A27-AA7A-9468AB8B2ED8}"/>
              </a:ext>
            </a:extLst>
          </p:cNvPr>
          <p:cNvCxnSpPr>
            <a:cxnSpLocks/>
            <a:stCxn id="20" idx="1"/>
            <a:endCxn id="21" idx="3"/>
          </p:cNvCxnSpPr>
          <p:nvPr/>
        </p:nvCxnSpPr>
        <p:spPr>
          <a:xfrm flipH="1">
            <a:off x="6777885" y="3564195"/>
            <a:ext cx="353309" cy="37704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01855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C1DFF56-CAE0-4E6E-A2B7-758A2848E5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6922" y="339502"/>
            <a:ext cx="5989760" cy="4803998"/>
          </a:xfrm>
          <a:prstGeom prst="rect">
            <a:avLst/>
          </a:prstGeom>
        </p:spPr>
      </p:pic>
      <p:sp>
        <p:nvSpPr>
          <p:cNvPr id="36" name="Titre 1">
            <a:extLst>
              <a:ext uri="{FF2B5EF4-FFF2-40B4-BE49-F238E27FC236}">
                <a16:creationId xmlns:a16="http://schemas.microsoft.com/office/drawing/2014/main" id="{97CD1967-32B1-48CD-B94B-167B137BB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734425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2: Cluster fusion</a:t>
            </a:r>
            <a:br>
              <a:rPr lang="fr-FR" dirty="0"/>
            </a:br>
            <a:r>
              <a:rPr lang="fr-FR" sz="1200" b="0" dirty="0" err="1"/>
              <a:t>Histograms</a:t>
            </a:r>
            <a:endParaRPr lang="fr-FR" dirty="0"/>
          </a:p>
        </p:txBody>
      </p:sp>
      <p:sp>
        <p:nvSpPr>
          <p:cNvPr id="37" name="Espace réservé du contenu 2">
            <a:extLst>
              <a:ext uri="{FF2B5EF4-FFF2-40B4-BE49-F238E27FC236}">
                <a16:creationId xmlns:a16="http://schemas.microsoft.com/office/drawing/2014/main" id="{3ADAF6A5-B4FB-441A-BFED-D77EB3B7A2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395" y="1491630"/>
            <a:ext cx="1984027" cy="1825457"/>
          </a:xfrm>
        </p:spPr>
        <p:txBody>
          <a:bodyPr/>
          <a:lstStyle/>
          <a:p>
            <a:r>
              <a:rPr lang="en-US" sz="1100" dirty="0"/>
              <a:t>Bins: according to the data size (166)</a:t>
            </a:r>
          </a:p>
          <a:p>
            <a:endParaRPr lang="en-US" sz="1100" dirty="0"/>
          </a:p>
          <a:p>
            <a:r>
              <a:rPr lang="en-US" sz="1100" dirty="0"/>
              <a:t>Variable: TOA</a:t>
            </a:r>
          </a:p>
          <a:p>
            <a:endParaRPr lang="en-US" sz="1100" dirty="0"/>
          </a:p>
          <a:p>
            <a:r>
              <a:rPr lang="en-US" sz="1100" dirty="0"/>
              <a:t>Weight: LEVEL</a:t>
            </a:r>
          </a:p>
          <a:p>
            <a:endParaRPr lang="en-US" sz="11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2EA899-873B-4201-8BC3-D7CD95C1DFE2}"/>
              </a:ext>
            </a:extLst>
          </p:cNvPr>
          <p:cNvSpPr/>
          <p:nvPr/>
        </p:nvSpPr>
        <p:spPr>
          <a:xfrm>
            <a:off x="4753000" y="555526"/>
            <a:ext cx="504056" cy="1044717"/>
          </a:xfrm>
          <a:prstGeom prst="rect">
            <a:avLst/>
          </a:prstGeom>
          <a:noFill/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97A2ABD-5535-4D84-BA99-FBF303544BBB}"/>
              </a:ext>
            </a:extLst>
          </p:cNvPr>
          <p:cNvSpPr/>
          <p:nvPr/>
        </p:nvSpPr>
        <p:spPr>
          <a:xfrm>
            <a:off x="3932004" y="714173"/>
            <a:ext cx="749325" cy="886022"/>
          </a:xfrm>
          <a:prstGeom prst="rect">
            <a:avLst/>
          </a:prstGeom>
          <a:noFill/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E1EFA7-02E4-45A1-8193-AA2198462864}"/>
              </a:ext>
            </a:extLst>
          </p:cNvPr>
          <p:cNvSpPr/>
          <p:nvPr/>
        </p:nvSpPr>
        <p:spPr>
          <a:xfrm>
            <a:off x="7720507" y="555526"/>
            <a:ext cx="504056" cy="1033846"/>
          </a:xfrm>
          <a:prstGeom prst="rect">
            <a:avLst/>
          </a:prstGeom>
          <a:noFill/>
          <a:ln w="19050"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902C47B-D4B8-411E-AEBE-AFF695745922}"/>
              </a:ext>
            </a:extLst>
          </p:cNvPr>
          <p:cNvSpPr/>
          <p:nvPr/>
        </p:nvSpPr>
        <p:spPr>
          <a:xfrm>
            <a:off x="6936526" y="699542"/>
            <a:ext cx="749325" cy="889830"/>
          </a:xfrm>
          <a:prstGeom prst="rect">
            <a:avLst/>
          </a:prstGeom>
          <a:noFill/>
          <a:ln w="19050"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74249EF-4213-48F5-A07C-5634156B13ED}"/>
              </a:ext>
            </a:extLst>
          </p:cNvPr>
          <p:cNvSpPr/>
          <p:nvPr/>
        </p:nvSpPr>
        <p:spPr>
          <a:xfrm>
            <a:off x="4871507" y="2298490"/>
            <a:ext cx="243640" cy="886022"/>
          </a:xfrm>
          <a:prstGeom prst="rect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F57DA3-09BB-416C-BBD2-FFC728DC1095}"/>
              </a:ext>
            </a:extLst>
          </p:cNvPr>
          <p:cNvSpPr/>
          <p:nvPr/>
        </p:nvSpPr>
        <p:spPr>
          <a:xfrm>
            <a:off x="3729111" y="2211711"/>
            <a:ext cx="175898" cy="972801"/>
          </a:xfrm>
          <a:prstGeom prst="rect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2" name="Connecteur droit avec flèche 21">
            <a:extLst>
              <a:ext uri="{FF2B5EF4-FFF2-40B4-BE49-F238E27FC236}">
                <a16:creationId xmlns:a16="http://schemas.microsoft.com/office/drawing/2014/main" id="{8E0CED8E-3866-45F6-ADDC-0D23F9320EFD}"/>
              </a:ext>
            </a:extLst>
          </p:cNvPr>
          <p:cNvCxnSpPr>
            <a:cxnSpLocks/>
            <a:stCxn id="16" idx="2"/>
            <a:endCxn id="20" idx="0"/>
          </p:cNvCxnSpPr>
          <p:nvPr/>
        </p:nvCxnSpPr>
        <p:spPr>
          <a:xfrm flipH="1">
            <a:off x="4993327" y="1600243"/>
            <a:ext cx="11701" cy="698247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avec flèche 22">
            <a:extLst>
              <a:ext uri="{FF2B5EF4-FFF2-40B4-BE49-F238E27FC236}">
                <a16:creationId xmlns:a16="http://schemas.microsoft.com/office/drawing/2014/main" id="{22F184EE-65CA-4752-88B1-167579962EB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 flipH="1">
            <a:off x="3817060" y="1600195"/>
            <a:ext cx="489607" cy="61151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43FC6292-3655-4997-97C6-21FF6EA441BD}"/>
              </a:ext>
            </a:extLst>
          </p:cNvPr>
          <p:cNvCxnSpPr>
            <a:cxnSpLocks/>
            <a:stCxn id="16" idx="3"/>
            <a:endCxn id="18" idx="1"/>
          </p:cNvCxnSpPr>
          <p:nvPr/>
        </p:nvCxnSpPr>
        <p:spPr>
          <a:xfrm flipV="1">
            <a:off x="5257056" y="1072449"/>
            <a:ext cx="2463451" cy="5436"/>
          </a:xfrm>
          <a:prstGeom prst="straightConnector1">
            <a:avLst/>
          </a:prstGeom>
          <a:ln>
            <a:solidFill>
              <a:srgbClr val="83BE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>
            <a:extLst>
              <a:ext uri="{FF2B5EF4-FFF2-40B4-BE49-F238E27FC236}">
                <a16:creationId xmlns:a16="http://schemas.microsoft.com/office/drawing/2014/main" id="{45B41AEC-9AC9-4939-AAB4-DA8852E2D8A4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 flipV="1">
            <a:off x="4681329" y="1144457"/>
            <a:ext cx="2255197" cy="12727"/>
          </a:xfrm>
          <a:prstGeom prst="straightConnector1">
            <a:avLst/>
          </a:prstGeom>
          <a:ln>
            <a:solidFill>
              <a:srgbClr val="83BE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Flèche : droite à entaille 25">
            <a:extLst>
              <a:ext uri="{FF2B5EF4-FFF2-40B4-BE49-F238E27FC236}">
                <a16:creationId xmlns:a16="http://schemas.microsoft.com/office/drawing/2014/main" id="{37E5043D-380C-4CAA-890C-10D34345145C}"/>
              </a:ext>
            </a:extLst>
          </p:cNvPr>
          <p:cNvSpPr/>
          <p:nvPr/>
        </p:nvSpPr>
        <p:spPr>
          <a:xfrm>
            <a:off x="2203378" y="1712969"/>
            <a:ext cx="1106483" cy="385967"/>
          </a:xfrm>
          <a:prstGeom prst="notchedRightArrow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High </a:t>
            </a:r>
            <a:r>
              <a:rPr lang="fr-FR" sz="1200" b="1" dirty="0" err="1"/>
              <a:t>cost</a:t>
            </a:r>
            <a:endParaRPr lang="fr-FR" sz="1200" b="1" dirty="0"/>
          </a:p>
        </p:txBody>
      </p:sp>
      <p:sp>
        <p:nvSpPr>
          <p:cNvPr id="27" name="Flèche : droite à entaille 26">
            <a:extLst>
              <a:ext uri="{FF2B5EF4-FFF2-40B4-BE49-F238E27FC236}">
                <a16:creationId xmlns:a16="http://schemas.microsoft.com/office/drawing/2014/main" id="{E7BB9BE8-F66A-48C5-801F-86A977479761}"/>
              </a:ext>
            </a:extLst>
          </p:cNvPr>
          <p:cNvSpPr/>
          <p:nvPr/>
        </p:nvSpPr>
        <p:spPr>
          <a:xfrm>
            <a:off x="5665005" y="523844"/>
            <a:ext cx="1106483" cy="385967"/>
          </a:xfrm>
          <a:prstGeom prst="notchedRightArrow">
            <a:avLst/>
          </a:prstGeom>
          <a:solidFill>
            <a:srgbClr val="83BE50"/>
          </a:solidFill>
          <a:ln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Low </a:t>
            </a:r>
            <a:r>
              <a:rPr lang="fr-FR" sz="1200" b="1" dirty="0" err="1"/>
              <a:t>cost</a:t>
            </a:r>
            <a:endParaRPr lang="fr-FR" sz="1200" b="1" dirty="0"/>
          </a:p>
        </p:txBody>
      </p:sp>
    </p:spTree>
    <p:extLst>
      <p:ext uri="{BB962C8B-B14F-4D97-AF65-F5344CB8AC3E}">
        <p14:creationId xmlns:p14="http://schemas.microsoft.com/office/powerpoint/2010/main" val="8374445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236024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2: Cluster fusion</a:t>
            </a:r>
            <a:br>
              <a:rPr lang="fr-FR" dirty="0"/>
            </a:br>
            <a:r>
              <a:rPr lang="fr-FR" sz="1200" b="0" dirty="0" err="1"/>
              <a:t>Dendrogram</a:t>
            </a:r>
            <a:br>
              <a:rPr lang="fr-FR" dirty="0"/>
            </a:br>
            <a:br>
              <a:rPr lang="fr-FR" sz="1400" u="sng" dirty="0"/>
            </a:br>
            <a:endParaRPr lang="fr-FR" sz="1400" dirty="0"/>
          </a:p>
        </p:txBody>
      </p:sp>
      <p:sp>
        <p:nvSpPr>
          <p:cNvPr id="3" name="Flèche : droite à entaille 2">
            <a:extLst>
              <a:ext uri="{FF2B5EF4-FFF2-40B4-BE49-F238E27FC236}">
                <a16:creationId xmlns:a16="http://schemas.microsoft.com/office/drawing/2014/main" id="{33090B2D-AC3A-4846-8B17-A0C5510569BA}"/>
              </a:ext>
            </a:extLst>
          </p:cNvPr>
          <p:cNvSpPr/>
          <p:nvPr/>
        </p:nvSpPr>
        <p:spPr>
          <a:xfrm>
            <a:off x="1475656" y="3801719"/>
            <a:ext cx="1205627" cy="408872"/>
          </a:xfrm>
          <a:prstGeom prst="notchedRightArrow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Best </a:t>
            </a:r>
            <a:r>
              <a:rPr lang="fr-FR" sz="1200" b="1" dirty="0" err="1"/>
              <a:t>cut</a:t>
            </a:r>
            <a:endParaRPr lang="fr-FR" sz="1200" b="1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0F3B0EC-01BC-48E4-B268-557C166FA1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8138" y="483518"/>
            <a:ext cx="5965861" cy="465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928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236024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2: Cluster fusion</a:t>
            </a:r>
            <a:br>
              <a:rPr lang="fr-FR" dirty="0"/>
            </a:br>
            <a:r>
              <a:rPr lang="fr-FR" sz="1200" b="0" dirty="0"/>
              <a:t>Final </a:t>
            </a:r>
            <a:r>
              <a:rPr lang="fr-FR" sz="1200" b="0" dirty="0" err="1"/>
              <a:t>groupings</a:t>
            </a:r>
            <a:br>
              <a:rPr lang="fr-FR" dirty="0"/>
            </a:br>
            <a:br>
              <a:rPr lang="fr-FR" sz="1400" u="sng" dirty="0"/>
            </a:br>
            <a:endParaRPr lang="fr-FR" sz="1400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75C26E0-5543-45B0-AB1B-7599C1BD93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444" y="1214345"/>
            <a:ext cx="2520279" cy="1249393"/>
          </a:xfrm>
        </p:spPr>
        <p:txBody>
          <a:bodyPr/>
          <a:lstStyle/>
          <a:p>
            <a:r>
              <a:rPr lang="en-US" sz="1100" dirty="0"/>
              <a:t>The pulses of the 2 transmitters around 3000MH are mixed</a:t>
            </a:r>
          </a:p>
          <a:p>
            <a:endParaRPr lang="en-US" sz="1100" dirty="0"/>
          </a:p>
          <a:p>
            <a:r>
              <a:rPr lang="en-US" sz="1100" dirty="0" err="1"/>
              <a:t>Hdbscan</a:t>
            </a:r>
            <a:r>
              <a:rPr lang="en-US" sz="1100" dirty="0"/>
              <a:t> can not differentiate them at step 1</a:t>
            </a:r>
          </a:p>
          <a:p>
            <a:endParaRPr lang="en-US" sz="11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3BEBC4DF-E878-42E6-9BC2-F12C78CFCF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8040519"/>
              </p:ext>
            </p:extLst>
          </p:nvPr>
        </p:nvGraphicFramePr>
        <p:xfrm>
          <a:off x="323528" y="3013482"/>
          <a:ext cx="2520279" cy="866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809">
                  <a:extLst>
                    <a:ext uri="{9D8B030D-6E8A-4147-A177-3AD203B41FA5}">
                      <a16:colId xmlns:a16="http://schemas.microsoft.com/office/drawing/2014/main" val="2194667135"/>
                    </a:ext>
                  </a:extLst>
                </a:gridCol>
                <a:gridCol w="843470">
                  <a:extLst>
                    <a:ext uri="{9D8B030D-6E8A-4147-A177-3AD203B41FA5}">
                      <a16:colId xmlns:a16="http://schemas.microsoft.com/office/drawing/2014/main" val="3639552737"/>
                    </a:ext>
                  </a:extLst>
                </a:gridCol>
              </a:tblGrid>
              <a:tr h="318351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err="1"/>
                        <a:t>Statistics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Value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11535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Homogeneity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4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55894055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Completeness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8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97236359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Unclassified</a:t>
                      </a:r>
                      <a:r>
                        <a:rPr lang="fr-FR" sz="1200" u="none" strike="noStrike" dirty="0">
                          <a:effectLst/>
                        </a:rPr>
                        <a:t> rate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>
                          <a:effectLst/>
                        </a:rPr>
                        <a:t>0,9%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03178251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8604633D-B949-4D64-B805-87E596CA7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5830" y="647694"/>
            <a:ext cx="5858170" cy="449580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2CC238A-9CE4-432B-AACF-83251346C3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51920" y="343215"/>
            <a:ext cx="1846139" cy="324034"/>
          </a:xfrm>
          <a:prstGeom prst="rect">
            <a:avLst/>
          </a:prstGeom>
          <a:ln>
            <a:solidFill>
              <a:srgbClr val="C00000"/>
            </a:solidFill>
          </a:ln>
        </p:spPr>
      </p:pic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F0E4BE94-E0E5-4248-B486-0B6F87B72B8B}"/>
              </a:ext>
            </a:extLst>
          </p:cNvPr>
          <p:cNvCxnSpPr>
            <a:cxnSpLocks/>
            <a:stCxn id="14" idx="0"/>
            <a:endCxn id="10" idx="2"/>
          </p:cNvCxnSpPr>
          <p:nvPr/>
        </p:nvCxnSpPr>
        <p:spPr>
          <a:xfrm flipH="1" flipV="1">
            <a:off x="4774990" y="667249"/>
            <a:ext cx="733114" cy="168847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318124C1-F5AE-4C87-B276-C9B2F23C3C7B}"/>
              </a:ext>
            </a:extLst>
          </p:cNvPr>
          <p:cNvSpPr/>
          <p:nvPr/>
        </p:nvSpPr>
        <p:spPr>
          <a:xfrm>
            <a:off x="5004048" y="2355726"/>
            <a:ext cx="1008112" cy="216024"/>
          </a:xfrm>
          <a:prstGeom prst="rect">
            <a:avLst/>
          </a:prstGeom>
          <a:noFill/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19077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23C6A5D-8722-421C-9B92-FAE0DFB8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pplication case 2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69705C6-D084-4A36-9996-8490087A53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2497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073557-2DEB-4DBE-98F0-08CE88D997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ontext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0A9607-46FA-4001-ACFE-E7CE5C3CA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7" y="987574"/>
            <a:ext cx="5753164" cy="3456384"/>
          </a:xfrm>
        </p:spPr>
        <p:txBody>
          <a:bodyPr/>
          <a:lstStyle/>
          <a:p>
            <a:pPr marL="0" indent="0">
              <a:buNone/>
            </a:pPr>
            <a:r>
              <a:rPr lang="en-US" sz="1050" b="1" u="sng" dirty="0"/>
              <a:t>The subject:</a:t>
            </a:r>
          </a:p>
          <a:p>
            <a:pPr marL="0" indent="0">
              <a:buNone/>
            </a:pPr>
            <a:endParaRPr lang="en-US" sz="800" b="1" dirty="0"/>
          </a:p>
          <a:p>
            <a:endParaRPr lang="en-US" sz="1050" dirty="0"/>
          </a:p>
          <a:p>
            <a:r>
              <a:rPr lang="en-US" sz="1050" dirty="0"/>
              <a:t>Use and development of machine learning tools for passive RADAR intelligence</a:t>
            </a:r>
          </a:p>
          <a:p>
            <a:endParaRPr lang="en-US" sz="1050" dirty="0"/>
          </a:p>
          <a:p>
            <a:pPr lvl="4"/>
            <a:r>
              <a:rPr lang="en-US" sz="1050" b="1" u="sng" dirty="0">
                <a:solidFill>
                  <a:srgbClr val="C00000"/>
                </a:solidFill>
              </a:rPr>
              <a:t>Improvement of the RADAR deinterlacing chain</a:t>
            </a:r>
            <a:endParaRPr lang="en-US" sz="1050" dirty="0"/>
          </a:p>
          <a:p>
            <a:endParaRPr lang="en-US" sz="1050" dirty="0"/>
          </a:p>
          <a:p>
            <a:endParaRPr lang="en-US" sz="1050" dirty="0"/>
          </a:p>
          <a:p>
            <a:r>
              <a:rPr lang="en-US" sz="1050" dirty="0"/>
              <a:t>Passive RADAR(s)</a:t>
            </a:r>
          </a:p>
          <a:p>
            <a:pPr lvl="1"/>
            <a:r>
              <a:rPr lang="en-US" sz="1050" dirty="0"/>
              <a:t>Emit no electromagnetic waves</a:t>
            </a:r>
          </a:p>
          <a:p>
            <a:pPr lvl="1"/>
            <a:r>
              <a:rPr lang="en-US" sz="1050" dirty="0"/>
              <a:t>Only receivers</a:t>
            </a:r>
          </a:p>
          <a:p>
            <a:pPr lvl="1"/>
            <a:r>
              <a:rPr lang="en-US" sz="1050" dirty="0"/>
              <a:t>Detect, track and identify RADAR(s)</a:t>
            </a:r>
          </a:p>
          <a:p>
            <a:pPr marL="202407" lvl="1" indent="0">
              <a:buNone/>
            </a:pPr>
            <a:br>
              <a:rPr lang="en-US" sz="1050" dirty="0"/>
            </a:br>
            <a:endParaRPr lang="en-US" sz="1050" dirty="0"/>
          </a:p>
          <a:p>
            <a:r>
              <a:rPr lang="en-US" sz="1050" dirty="0"/>
              <a:t>RADAR signals deinterlacing includes techniques capable of: </a:t>
            </a:r>
          </a:p>
          <a:p>
            <a:pPr lvl="1"/>
            <a:r>
              <a:rPr lang="en-US" sz="1050" dirty="0"/>
              <a:t>Separating</a:t>
            </a:r>
          </a:p>
          <a:p>
            <a:pPr lvl="1"/>
            <a:r>
              <a:rPr lang="en-US" sz="1050" dirty="0"/>
              <a:t>Characterizing </a:t>
            </a:r>
          </a:p>
          <a:p>
            <a:pPr lvl="1"/>
            <a:r>
              <a:rPr lang="en-US" sz="1050" dirty="0"/>
              <a:t>Identifying all transmitters present in the signal</a:t>
            </a:r>
          </a:p>
          <a:p>
            <a:pPr lvl="1"/>
            <a:endParaRPr lang="en-US" sz="1050" dirty="0"/>
          </a:p>
          <a:p>
            <a:pPr marL="431007" lvl="1" indent="-228600">
              <a:buFont typeface="+mj-lt"/>
              <a:buAutoNum type="arabicPeriod"/>
            </a:pPr>
            <a:endParaRPr lang="en-US" sz="1050" dirty="0"/>
          </a:p>
          <a:p>
            <a:pPr lvl="1"/>
            <a:endParaRPr lang="en-US" sz="1050" dirty="0"/>
          </a:p>
          <a:p>
            <a:endParaRPr lang="fr-FR" sz="1050" b="1" dirty="0"/>
          </a:p>
        </p:txBody>
      </p:sp>
      <p:grpSp>
        <p:nvGrpSpPr>
          <p:cNvPr id="4" name="Group 23">
            <a:extLst>
              <a:ext uri="{FF2B5EF4-FFF2-40B4-BE49-F238E27FC236}">
                <a16:creationId xmlns:a16="http://schemas.microsoft.com/office/drawing/2014/main" id="{2F25D8DA-415A-420D-804B-CBAB3F5CAA41}"/>
              </a:ext>
            </a:extLst>
          </p:cNvPr>
          <p:cNvGrpSpPr/>
          <p:nvPr/>
        </p:nvGrpSpPr>
        <p:grpSpPr>
          <a:xfrm>
            <a:off x="6220708" y="987574"/>
            <a:ext cx="2527756" cy="3600400"/>
            <a:chOff x="393698" y="1376361"/>
            <a:chExt cx="3997326" cy="2670971"/>
          </a:xfrm>
        </p:grpSpPr>
        <p:sp>
          <p:nvSpPr>
            <p:cNvPr id="5" name="Text Box 10">
              <a:extLst>
                <a:ext uri="{FF2B5EF4-FFF2-40B4-BE49-F238E27FC236}">
                  <a16:creationId xmlns:a16="http://schemas.microsoft.com/office/drawing/2014/main" id="{3D63C06B-6417-4C74-804F-5484269A4AFA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700" y="1376361"/>
              <a:ext cx="3997324" cy="249678"/>
            </a:xfrm>
            <a:prstGeom prst="rect">
              <a:avLst/>
            </a:prstGeom>
            <a:solidFill>
              <a:srgbClr val="81BC00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100" b="1" dirty="0">
                  <a:solidFill>
                    <a:schemeClr val="bg1"/>
                  </a:solidFill>
                </a:rPr>
                <a:t>To summarize</a:t>
              </a:r>
            </a:p>
          </p:txBody>
        </p:sp>
        <p:sp>
          <p:nvSpPr>
            <p:cNvPr id="6" name="Text Placeholder 5">
              <a:extLst>
                <a:ext uri="{FF2B5EF4-FFF2-40B4-BE49-F238E27FC236}">
                  <a16:creationId xmlns:a16="http://schemas.microsoft.com/office/drawing/2014/main" id="{5614F243-48C5-4C74-B6CA-020DCEBA03BC}"/>
                </a:ext>
              </a:extLst>
            </p:cNvPr>
            <p:cNvSpPr txBox="1">
              <a:spLocks/>
            </p:cNvSpPr>
            <p:nvPr/>
          </p:nvSpPr>
          <p:spPr>
            <a:xfrm>
              <a:off x="393698" y="1626041"/>
              <a:ext cx="3997324" cy="2421291"/>
            </a:xfrm>
            <a:prstGeom prst="rect">
              <a:avLst/>
            </a:prstGeom>
            <a:solidFill>
              <a:srgbClr val="DCDCDC"/>
            </a:solidFill>
            <a:ln w="12700">
              <a:noFill/>
            </a:ln>
          </p:spPr>
          <p:txBody>
            <a:bodyPr wrap="square" lIns="18288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endParaRPr lang="en-US" sz="5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r>
                <a:rPr lang="en-US" sz="10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Data reception</a:t>
              </a:r>
            </a:p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endParaRPr lang="en-US" sz="6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r>
                <a:rPr lang="en-US" sz="10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Separation and grouping of data</a:t>
              </a:r>
            </a:p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endParaRPr lang="en-US" sz="5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r>
                <a:rPr lang="en-US" sz="10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Comparison of groups to Radar database which contains all the characteristics of the RADARS</a:t>
              </a:r>
            </a:p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endParaRPr lang="en-US" sz="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r>
                <a:rPr lang="en-US" sz="10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Identification of the RADAR present or updating of the database</a:t>
              </a:r>
            </a:p>
            <a:p>
              <a:pPr marL="228600" lvl="0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+mj-lt"/>
                <a:buAutoNum type="arabicPeriod"/>
              </a:pPr>
              <a:endParaRPr lang="en-US" sz="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  <a:p>
              <a:pPr marL="408600" lvl="1" indent="-228600">
                <a:lnSpc>
                  <a:spcPct val="90000"/>
                </a:lnSpc>
                <a:spcBef>
                  <a:spcPts val="1200"/>
                </a:spcBef>
                <a:buClr>
                  <a:srgbClr val="C01D4A"/>
                </a:buClr>
                <a:buSzPct val="150000"/>
                <a:buFont typeface="Wingdings" panose="05000000000000000000" pitchFamily="2" charset="2"/>
                <a:buChar char="Ø"/>
              </a:pPr>
              <a:r>
                <a:rPr lang="en-US" sz="1000" b="1" u="sng" dirty="0">
                  <a:solidFill>
                    <a:srgbClr val="C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RADAR Deinterlac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83314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5355703" cy="570309"/>
          </a:xfrm>
        </p:spPr>
        <p:txBody>
          <a:bodyPr/>
          <a:lstStyle/>
          <a:p>
            <a:r>
              <a:rPr lang="fr-FR" dirty="0"/>
              <a:t>Initial data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69B1C09-8112-41F4-A959-ACDB8DD833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832" y="574960"/>
            <a:ext cx="6084168" cy="4568539"/>
          </a:xfrm>
          <a:prstGeom prst="rect">
            <a:avLst/>
          </a:prstGeom>
        </p:spPr>
      </p:pic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33A2E174-F41F-4629-9D60-B0A66B51F1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2920131" cy="3474244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r>
              <a:rPr lang="en-US" dirty="0"/>
              <a:t>More complex signal</a:t>
            </a:r>
          </a:p>
          <a:p>
            <a:endParaRPr lang="en-US" dirty="0"/>
          </a:p>
          <a:p>
            <a:r>
              <a:rPr lang="en-US" dirty="0"/>
              <a:t>16 023 pulses</a:t>
            </a:r>
          </a:p>
          <a:p>
            <a:endParaRPr lang="en-US" dirty="0"/>
          </a:p>
          <a:p>
            <a:r>
              <a:rPr lang="en-US" dirty="0"/>
              <a:t>6 Radars</a:t>
            </a:r>
          </a:p>
          <a:p>
            <a:endParaRPr lang="en-US" dirty="0"/>
          </a:p>
          <a:p>
            <a:r>
              <a:rPr lang="en-US" b="1" u="sng" dirty="0"/>
              <a:t>Strong</a:t>
            </a:r>
            <a:r>
              <a:rPr lang="en-US" dirty="0"/>
              <a:t> spread of the pulse width 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5371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236024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2: Cluster fusion</a:t>
            </a:r>
            <a:br>
              <a:rPr lang="fr-FR" dirty="0"/>
            </a:br>
            <a:r>
              <a:rPr lang="fr-FR" sz="1200" b="0" dirty="0" err="1"/>
              <a:t>True</a:t>
            </a:r>
            <a:r>
              <a:rPr lang="fr-FR" sz="1200" b="0" dirty="0"/>
              <a:t> label</a:t>
            </a:r>
            <a:br>
              <a:rPr lang="fr-FR" dirty="0"/>
            </a:br>
            <a:br>
              <a:rPr lang="fr-FR" sz="1400" u="sng" dirty="0"/>
            </a:br>
            <a:endParaRPr lang="fr-FR" sz="1400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AEFD4CA-5048-4656-8855-F600CE5B24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8506" y="699542"/>
            <a:ext cx="6325494" cy="4443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660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2691407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1: Clustering</a:t>
            </a:r>
            <a:br>
              <a:rPr lang="fr-FR" dirty="0"/>
            </a:br>
            <a:r>
              <a:rPr lang="fr-FR" sz="1200" b="0" dirty="0"/>
              <a:t>HDBSCAN</a:t>
            </a:r>
            <a:endParaRPr lang="fr-FR" b="0" dirty="0"/>
          </a:p>
        </p:txBody>
      </p:sp>
      <p:graphicFrame>
        <p:nvGraphicFramePr>
          <p:cNvPr id="7" name="Tableau 3">
            <a:extLst>
              <a:ext uri="{FF2B5EF4-FFF2-40B4-BE49-F238E27FC236}">
                <a16:creationId xmlns:a16="http://schemas.microsoft.com/office/drawing/2014/main" id="{F7CDFF24-F87B-430B-8E80-FB2164C430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6553183"/>
              </p:ext>
            </p:extLst>
          </p:nvPr>
        </p:nvGraphicFramePr>
        <p:xfrm>
          <a:off x="395536" y="1203599"/>
          <a:ext cx="2232248" cy="25922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7062">
                  <a:extLst>
                    <a:ext uri="{9D8B030D-6E8A-4147-A177-3AD203B41FA5}">
                      <a16:colId xmlns:a16="http://schemas.microsoft.com/office/drawing/2014/main" val="2194667135"/>
                    </a:ext>
                  </a:extLst>
                </a:gridCol>
                <a:gridCol w="694787">
                  <a:extLst>
                    <a:ext uri="{9D8B030D-6E8A-4147-A177-3AD203B41FA5}">
                      <a16:colId xmlns:a16="http://schemas.microsoft.com/office/drawing/2014/main" val="3639552737"/>
                    </a:ext>
                  </a:extLst>
                </a:gridCol>
                <a:gridCol w="660399">
                  <a:extLst>
                    <a:ext uri="{9D8B030D-6E8A-4147-A177-3AD203B41FA5}">
                      <a16:colId xmlns:a16="http://schemas.microsoft.com/office/drawing/2014/main" val="2214669457"/>
                    </a:ext>
                  </a:extLst>
                </a:gridCol>
              </a:tblGrid>
              <a:tr h="329927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luster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ulses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%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11535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55894055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7236359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03178251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90277160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73068665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33460137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77316381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7105140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89692481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60366615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72553825"/>
                  </a:ext>
                </a:extLst>
              </a:tr>
              <a:tr h="1885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2577392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B3926DB5-37FC-462D-A7F1-37463CCC0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840" y="784900"/>
            <a:ext cx="6012160" cy="4266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5470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 34">
            <a:extLst>
              <a:ext uri="{FF2B5EF4-FFF2-40B4-BE49-F238E27FC236}">
                <a16:creationId xmlns:a16="http://schemas.microsoft.com/office/drawing/2014/main" id="{A9931D44-93C8-4996-8A2F-EAC16F81D4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5036" y="483517"/>
            <a:ext cx="5898963" cy="4659685"/>
          </a:xfrm>
          <a:prstGeom prst="rect">
            <a:avLst/>
          </a:prstGeom>
        </p:spPr>
      </p:pic>
      <p:sp>
        <p:nvSpPr>
          <p:cNvPr id="36" name="Titre 1">
            <a:extLst>
              <a:ext uri="{FF2B5EF4-FFF2-40B4-BE49-F238E27FC236}">
                <a16:creationId xmlns:a16="http://schemas.microsoft.com/office/drawing/2014/main" id="{97CD1967-32B1-48CD-B94B-167B137BB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734425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2: Cluster fusion</a:t>
            </a:r>
            <a:br>
              <a:rPr lang="fr-FR" dirty="0"/>
            </a:br>
            <a:r>
              <a:rPr lang="fr-FR" sz="1200" b="0" dirty="0" err="1"/>
              <a:t>Histograms</a:t>
            </a:r>
            <a:endParaRPr lang="fr-FR" b="0" dirty="0"/>
          </a:p>
        </p:txBody>
      </p:sp>
      <p:sp>
        <p:nvSpPr>
          <p:cNvPr id="37" name="Espace réservé du contenu 2">
            <a:extLst>
              <a:ext uri="{FF2B5EF4-FFF2-40B4-BE49-F238E27FC236}">
                <a16:creationId xmlns:a16="http://schemas.microsoft.com/office/drawing/2014/main" id="{3ADAF6A5-B4FB-441A-BFED-D77EB3B7A2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149" y="1575039"/>
            <a:ext cx="1984027" cy="1992829"/>
          </a:xfrm>
        </p:spPr>
        <p:txBody>
          <a:bodyPr/>
          <a:lstStyle/>
          <a:p>
            <a:r>
              <a:rPr lang="en-US" sz="1100" dirty="0"/>
              <a:t>Bins: according to the data size (801)</a:t>
            </a:r>
          </a:p>
          <a:p>
            <a:endParaRPr lang="en-US" sz="1100" dirty="0"/>
          </a:p>
          <a:p>
            <a:r>
              <a:rPr lang="en-US" sz="1100" dirty="0"/>
              <a:t>Variable: TOA</a:t>
            </a:r>
          </a:p>
          <a:p>
            <a:endParaRPr lang="en-US" sz="1100" dirty="0"/>
          </a:p>
          <a:p>
            <a:r>
              <a:rPr lang="en-US" sz="1100" dirty="0"/>
              <a:t>Weight: LEVEL</a:t>
            </a:r>
          </a:p>
          <a:p>
            <a:endParaRPr lang="en-US" sz="11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30D33B7-4676-44B7-90FA-A81780B2D2B4}"/>
              </a:ext>
            </a:extLst>
          </p:cNvPr>
          <p:cNvSpPr/>
          <p:nvPr/>
        </p:nvSpPr>
        <p:spPr>
          <a:xfrm>
            <a:off x="8172400" y="3648918"/>
            <a:ext cx="824911" cy="544476"/>
          </a:xfrm>
          <a:prstGeom prst="rect">
            <a:avLst/>
          </a:prstGeom>
          <a:noFill/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88463E-E57F-4D2B-B95E-36850094B2B9}"/>
              </a:ext>
            </a:extLst>
          </p:cNvPr>
          <p:cNvSpPr/>
          <p:nvPr/>
        </p:nvSpPr>
        <p:spPr>
          <a:xfrm>
            <a:off x="5236125" y="2859782"/>
            <a:ext cx="749325" cy="570309"/>
          </a:xfrm>
          <a:prstGeom prst="rect">
            <a:avLst/>
          </a:prstGeom>
          <a:noFill/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4EE9782-C87B-4D29-A2FE-90A55C27D778}"/>
              </a:ext>
            </a:extLst>
          </p:cNvPr>
          <p:cNvSpPr/>
          <p:nvPr/>
        </p:nvSpPr>
        <p:spPr>
          <a:xfrm>
            <a:off x="8244408" y="2160332"/>
            <a:ext cx="666414" cy="544477"/>
          </a:xfrm>
          <a:prstGeom prst="rect">
            <a:avLst/>
          </a:prstGeom>
          <a:noFill/>
          <a:ln w="19050"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6B5BAF-DA30-444F-9E9D-59BBAD41ECCC}"/>
              </a:ext>
            </a:extLst>
          </p:cNvPr>
          <p:cNvSpPr/>
          <p:nvPr/>
        </p:nvSpPr>
        <p:spPr>
          <a:xfrm>
            <a:off x="5138732" y="4374828"/>
            <a:ext cx="846718" cy="570309"/>
          </a:xfrm>
          <a:prstGeom prst="rect">
            <a:avLst/>
          </a:prstGeom>
          <a:noFill/>
          <a:ln w="19050"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CD3CED3-3C26-45C6-8206-1D0ECE538E6A}"/>
              </a:ext>
            </a:extLst>
          </p:cNvPr>
          <p:cNvSpPr/>
          <p:nvPr/>
        </p:nvSpPr>
        <p:spPr>
          <a:xfrm>
            <a:off x="6479234" y="2890007"/>
            <a:ext cx="2431588" cy="544475"/>
          </a:xfrm>
          <a:prstGeom prst="rect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A1665AC-BD1F-4162-B374-5FAAFFF36FCD}"/>
              </a:ext>
            </a:extLst>
          </p:cNvPr>
          <p:cNvSpPr/>
          <p:nvPr/>
        </p:nvSpPr>
        <p:spPr>
          <a:xfrm>
            <a:off x="3491880" y="2174439"/>
            <a:ext cx="885559" cy="541327"/>
          </a:xfrm>
          <a:prstGeom prst="rect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3" name="Connecteur droit avec flèche 22">
            <a:extLst>
              <a:ext uri="{FF2B5EF4-FFF2-40B4-BE49-F238E27FC236}">
                <a16:creationId xmlns:a16="http://schemas.microsoft.com/office/drawing/2014/main" id="{9E918CD7-25F6-42B1-83BF-12CD6140573F}"/>
              </a:ext>
            </a:extLst>
          </p:cNvPr>
          <p:cNvCxnSpPr>
            <a:cxnSpLocks/>
            <a:stCxn id="17" idx="0"/>
            <a:endCxn id="21" idx="2"/>
          </p:cNvCxnSpPr>
          <p:nvPr/>
        </p:nvCxnSpPr>
        <p:spPr>
          <a:xfrm flipH="1" flipV="1">
            <a:off x="7695028" y="3434482"/>
            <a:ext cx="889828" cy="21443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4A5CE2F9-EB4C-47E5-87EB-BA74E7B194FF}"/>
              </a:ext>
            </a:extLst>
          </p:cNvPr>
          <p:cNvCxnSpPr>
            <a:cxnSpLocks/>
            <a:stCxn id="18" idx="0"/>
            <a:endCxn id="22" idx="3"/>
          </p:cNvCxnSpPr>
          <p:nvPr/>
        </p:nvCxnSpPr>
        <p:spPr>
          <a:xfrm flipH="1" flipV="1">
            <a:off x="4377439" y="2445103"/>
            <a:ext cx="1233349" cy="41467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>
            <a:extLst>
              <a:ext uri="{FF2B5EF4-FFF2-40B4-BE49-F238E27FC236}">
                <a16:creationId xmlns:a16="http://schemas.microsoft.com/office/drawing/2014/main" id="{290E056E-3CEC-4067-B206-8AD2C571ECA6}"/>
              </a:ext>
            </a:extLst>
          </p:cNvPr>
          <p:cNvCxnSpPr>
            <a:cxnSpLocks/>
            <a:stCxn id="17" idx="0"/>
            <a:endCxn id="19" idx="2"/>
          </p:cNvCxnSpPr>
          <p:nvPr/>
        </p:nvCxnSpPr>
        <p:spPr>
          <a:xfrm flipH="1" flipV="1">
            <a:off x="8577615" y="2704809"/>
            <a:ext cx="7241" cy="944109"/>
          </a:xfrm>
          <a:prstGeom prst="straightConnector1">
            <a:avLst/>
          </a:prstGeom>
          <a:ln>
            <a:solidFill>
              <a:srgbClr val="83BE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9E2C060A-5F60-475E-BC9F-0A1A9A9A0F3C}"/>
              </a:ext>
            </a:extLst>
          </p:cNvPr>
          <p:cNvCxnSpPr>
            <a:cxnSpLocks/>
            <a:stCxn id="18" idx="2"/>
            <a:endCxn id="20" idx="0"/>
          </p:cNvCxnSpPr>
          <p:nvPr/>
        </p:nvCxnSpPr>
        <p:spPr>
          <a:xfrm flipH="1">
            <a:off x="5562091" y="3430091"/>
            <a:ext cx="48697" cy="944737"/>
          </a:xfrm>
          <a:prstGeom prst="straightConnector1">
            <a:avLst/>
          </a:prstGeom>
          <a:ln>
            <a:solidFill>
              <a:srgbClr val="83BE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Flèche : droite à entaille 26">
            <a:extLst>
              <a:ext uri="{FF2B5EF4-FFF2-40B4-BE49-F238E27FC236}">
                <a16:creationId xmlns:a16="http://schemas.microsoft.com/office/drawing/2014/main" id="{25296C24-6368-4B66-9690-03B35C0A1871}"/>
              </a:ext>
            </a:extLst>
          </p:cNvPr>
          <p:cNvSpPr/>
          <p:nvPr/>
        </p:nvSpPr>
        <p:spPr>
          <a:xfrm>
            <a:off x="2011687" y="2612863"/>
            <a:ext cx="1205627" cy="408872"/>
          </a:xfrm>
          <a:prstGeom prst="notchedRightArrow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High </a:t>
            </a:r>
            <a:r>
              <a:rPr lang="fr-FR" sz="1200" b="1" dirty="0" err="1"/>
              <a:t>cost</a:t>
            </a:r>
            <a:endParaRPr lang="fr-FR" sz="1200" b="1" dirty="0"/>
          </a:p>
        </p:txBody>
      </p:sp>
      <p:sp>
        <p:nvSpPr>
          <p:cNvPr id="28" name="Flèche : droite à entaille 27">
            <a:extLst>
              <a:ext uri="{FF2B5EF4-FFF2-40B4-BE49-F238E27FC236}">
                <a16:creationId xmlns:a16="http://schemas.microsoft.com/office/drawing/2014/main" id="{2171F631-5092-4239-9A4C-A21D87A56554}"/>
              </a:ext>
            </a:extLst>
          </p:cNvPr>
          <p:cNvSpPr/>
          <p:nvPr/>
        </p:nvSpPr>
        <p:spPr>
          <a:xfrm>
            <a:off x="2028880" y="3648918"/>
            <a:ext cx="1205627" cy="408872"/>
          </a:xfrm>
          <a:prstGeom prst="notchedRightArrow">
            <a:avLst/>
          </a:prstGeom>
          <a:solidFill>
            <a:srgbClr val="83BE50"/>
          </a:solidFill>
          <a:ln>
            <a:solidFill>
              <a:srgbClr val="83BE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Low </a:t>
            </a:r>
            <a:r>
              <a:rPr lang="fr-FR" sz="1200" b="1" dirty="0" err="1"/>
              <a:t>cost</a:t>
            </a:r>
            <a:endParaRPr lang="fr-FR" sz="1200" b="1" dirty="0"/>
          </a:p>
        </p:txBody>
      </p:sp>
    </p:spTree>
    <p:extLst>
      <p:ext uri="{BB962C8B-B14F-4D97-AF65-F5344CB8AC3E}">
        <p14:creationId xmlns:p14="http://schemas.microsoft.com/office/powerpoint/2010/main" val="13011224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236024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2: Cluster fusion</a:t>
            </a:r>
            <a:br>
              <a:rPr lang="fr-FR" dirty="0"/>
            </a:br>
            <a:r>
              <a:rPr lang="fr-FR" sz="1200" b="0" dirty="0" err="1"/>
              <a:t>Dendrogram</a:t>
            </a:r>
            <a:br>
              <a:rPr lang="fr-FR" dirty="0"/>
            </a:br>
            <a:br>
              <a:rPr lang="fr-FR" sz="1400" u="sng" dirty="0"/>
            </a:br>
            <a:endParaRPr lang="fr-FR" sz="1400" dirty="0"/>
          </a:p>
        </p:txBody>
      </p:sp>
      <p:sp>
        <p:nvSpPr>
          <p:cNvPr id="3" name="Flèche : droite à entaille 2">
            <a:extLst>
              <a:ext uri="{FF2B5EF4-FFF2-40B4-BE49-F238E27FC236}">
                <a16:creationId xmlns:a16="http://schemas.microsoft.com/office/drawing/2014/main" id="{79BB6D31-73B4-451F-B139-23A96791A8C6}"/>
              </a:ext>
            </a:extLst>
          </p:cNvPr>
          <p:cNvSpPr/>
          <p:nvPr/>
        </p:nvSpPr>
        <p:spPr>
          <a:xfrm>
            <a:off x="1691680" y="3795886"/>
            <a:ext cx="1205627" cy="408872"/>
          </a:xfrm>
          <a:prstGeom prst="notchedRightArrow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Best </a:t>
            </a:r>
            <a:r>
              <a:rPr lang="fr-FR" sz="1200" b="1" dirty="0" err="1"/>
              <a:t>cut</a:t>
            </a:r>
            <a:endParaRPr lang="fr-FR" sz="1200" b="1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885CD59-8223-47BC-9393-8975936A46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1840" y="455258"/>
            <a:ext cx="6012160" cy="4682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0267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236024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2: Cluster fusion</a:t>
            </a:r>
            <a:br>
              <a:rPr lang="fr-FR" dirty="0"/>
            </a:br>
            <a:r>
              <a:rPr lang="fr-FR" sz="1200" b="0" dirty="0"/>
              <a:t>Final </a:t>
            </a:r>
            <a:r>
              <a:rPr lang="fr-FR" sz="1200" b="0" dirty="0" err="1"/>
              <a:t>grouping</a:t>
            </a:r>
            <a:br>
              <a:rPr lang="fr-FR" dirty="0"/>
            </a:br>
            <a:br>
              <a:rPr lang="fr-FR" sz="1400" u="sng" dirty="0"/>
            </a:br>
            <a:endParaRPr lang="fr-FR" sz="1400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75C26E0-5543-45B0-AB1B-7599C1BD93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498" y="1034325"/>
            <a:ext cx="2901335" cy="2329513"/>
          </a:xfrm>
        </p:spPr>
        <p:txBody>
          <a:bodyPr/>
          <a:lstStyle/>
          <a:p>
            <a:r>
              <a:rPr lang="en-US" sz="1100" dirty="0"/>
              <a:t>Underestimation of Radar number</a:t>
            </a:r>
          </a:p>
          <a:p>
            <a:endParaRPr lang="en-US" sz="1100" dirty="0"/>
          </a:p>
          <a:p>
            <a:r>
              <a:rPr lang="en-US" sz="1100" dirty="0"/>
              <a:t>Not a problem because the results from the dendrogram are good</a:t>
            </a:r>
          </a:p>
          <a:p>
            <a:endParaRPr lang="en-US" sz="1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100" b="1" u="sng" dirty="0">
                <a:solidFill>
                  <a:srgbClr val="C00000"/>
                </a:solidFill>
              </a:rPr>
              <a:t>Improve the model decision to cut the dendrogram</a:t>
            </a:r>
          </a:p>
          <a:p>
            <a:endParaRPr lang="en-US" sz="1100" dirty="0"/>
          </a:p>
          <a:p>
            <a:endParaRPr lang="en-US" sz="11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3BEBC4DF-E878-42E6-9BC2-F12C78CFCF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5752094"/>
              </p:ext>
            </p:extLst>
          </p:nvPr>
        </p:nvGraphicFramePr>
        <p:xfrm>
          <a:off x="323529" y="3628814"/>
          <a:ext cx="2736304" cy="866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5">
                  <a:extLst>
                    <a:ext uri="{9D8B030D-6E8A-4147-A177-3AD203B41FA5}">
                      <a16:colId xmlns:a16="http://schemas.microsoft.com/office/drawing/2014/main" val="2194667135"/>
                    </a:ext>
                  </a:extLst>
                </a:gridCol>
                <a:gridCol w="1152129">
                  <a:extLst>
                    <a:ext uri="{9D8B030D-6E8A-4147-A177-3AD203B41FA5}">
                      <a16:colId xmlns:a16="http://schemas.microsoft.com/office/drawing/2014/main" val="3639552737"/>
                    </a:ext>
                  </a:extLst>
                </a:gridCol>
              </a:tblGrid>
              <a:tr h="318351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err="1"/>
                        <a:t>Statistics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Value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11535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Homogeneity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55894055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Completeness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97236359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Unclassified</a:t>
                      </a:r>
                      <a:r>
                        <a:rPr lang="fr-FR" sz="1200" u="none" strike="noStrike" dirty="0">
                          <a:effectLst/>
                        </a:rPr>
                        <a:t> rate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%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03178251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89E155AE-BC6D-4F65-8F4B-365D437540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1840" y="899912"/>
            <a:ext cx="6012160" cy="424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3763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236024" cy="570309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2: Cluster fusion</a:t>
            </a:r>
            <a:br>
              <a:rPr lang="fr-FR" dirty="0"/>
            </a:br>
            <a:r>
              <a:rPr lang="fr-FR" sz="1200" b="0" dirty="0"/>
              <a:t>Final </a:t>
            </a:r>
            <a:r>
              <a:rPr lang="fr-FR" sz="1200" b="0" dirty="0" err="1"/>
              <a:t>grouping</a:t>
            </a:r>
            <a:br>
              <a:rPr lang="fr-FR" dirty="0"/>
            </a:br>
            <a:br>
              <a:rPr lang="fr-FR" sz="1400" u="sng" dirty="0"/>
            </a:br>
            <a:endParaRPr lang="fr-FR" sz="1400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75C26E0-5543-45B0-AB1B-7599C1BD93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128695"/>
            <a:ext cx="2325270" cy="1681441"/>
          </a:xfrm>
        </p:spPr>
        <p:txBody>
          <a:bodyPr/>
          <a:lstStyle/>
          <a:p>
            <a:r>
              <a:rPr lang="en-US" sz="1100" dirty="0"/>
              <a:t>Groupings with the true number of Radars using the previous dendrogram</a:t>
            </a:r>
          </a:p>
          <a:p>
            <a:endParaRPr lang="en-US" sz="1100" dirty="0"/>
          </a:p>
          <a:p>
            <a:r>
              <a:rPr lang="en-US" sz="1100" dirty="0"/>
              <a:t>Groupings are good</a:t>
            </a:r>
          </a:p>
          <a:p>
            <a:endParaRPr lang="en-US" sz="1100" dirty="0"/>
          </a:p>
          <a:p>
            <a:r>
              <a:rPr lang="en-US" sz="1100" dirty="0"/>
              <a:t>Only 22 pulses are mixed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3BEBC4DF-E878-42E6-9BC2-F12C78CFCF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599201"/>
              </p:ext>
            </p:extLst>
          </p:nvPr>
        </p:nvGraphicFramePr>
        <p:xfrm>
          <a:off x="210594" y="3147814"/>
          <a:ext cx="2376263" cy="866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5730">
                  <a:extLst>
                    <a:ext uri="{9D8B030D-6E8A-4147-A177-3AD203B41FA5}">
                      <a16:colId xmlns:a16="http://schemas.microsoft.com/office/drawing/2014/main" val="2194667135"/>
                    </a:ext>
                  </a:extLst>
                </a:gridCol>
                <a:gridCol w="1000533">
                  <a:extLst>
                    <a:ext uri="{9D8B030D-6E8A-4147-A177-3AD203B41FA5}">
                      <a16:colId xmlns:a16="http://schemas.microsoft.com/office/drawing/2014/main" val="3639552737"/>
                    </a:ext>
                  </a:extLst>
                </a:gridCol>
              </a:tblGrid>
              <a:tr h="318351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err="1"/>
                        <a:t>Statistics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Value</a:t>
                      </a:r>
                      <a:endParaRPr lang="fr-F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3BE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11535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Homogeneity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55894055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Completeness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97236359"/>
                  </a:ext>
                </a:extLst>
              </a:tr>
              <a:tr h="1819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 err="1">
                          <a:effectLst/>
                        </a:rPr>
                        <a:t>Unclassified</a:t>
                      </a:r>
                      <a:r>
                        <a:rPr lang="fr-FR" sz="1200" u="none" strike="noStrike" dirty="0">
                          <a:effectLst/>
                        </a:rPr>
                        <a:t> rate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%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03178251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247E02A1-3701-4D17-B719-4C58707E4B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1190" y="852488"/>
            <a:ext cx="6112810" cy="429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5885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D869B4-955D-4AA7-B228-C0D345149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Conclus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15005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4FE83-9181-40C1-B359-A6867469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2179"/>
            <a:ext cx="8236024" cy="570309"/>
          </a:xfrm>
        </p:spPr>
        <p:txBody>
          <a:bodyPr/>
          <a:lstStyle/>
          <a:p>
            <a:r>
              <a:rPr lang="fr-FR" dirty="0"/>
              <a:t>Conclusions and Next objectives</a:t>
            </a:r>
            <a:br>
              <a:rPr lang="fr-FR" dirty="0"/>
            </a:br>
            <a:br>
              <a:rPr lang="fr-FR" sz="1400" u="sng" dirty="0"/>
            </a:br>
            <a:endParaRPr lang="fr-FR" sz="1400" dirty="0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75587B9D-3E54-4E59-B3D7-F928DBC126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498" y="1034324"/>
            <a:ext cx="8013902" cy="3553649"/>
          </a:xfrm>
        </p:spPr>
        <p:txBody>
          <a:bodyPr/>
          <a:lstStyle/>
          <a:p>
            <a:r>
              <a:rPr lang="en-US" sz="1100" dirty="0"/>
              <a:t>Works on moderately complex cases</a:t>
            </a:r>
          </a:p>
          <a:p>
            <a:endParaRPr lang="en-US" sz="1100" dirty="0"/>
          </a:p>
          <a:p>
            <a:r>
              <a:rPr lang="en-US" sz="1100" dirty="0"/>
              <a:t>Publication of a research article: “</a:t>
            </a:r>
            <a:r>
              <a:rPr lang="en-US" sz="1100" i="1" dirty="0"/>
              <a:t>Deinterleaving and Clustering unknown RADAR pulses</a:t>
            </a:r>
            <a:r>
              <a:rPr lang="en-US" sz="1100" dirty="0"/>
              <a:t>” - </a:t>
            </a:r>
            <a:r>
              <a:rPr lang="fr-FR" sz="1100" dirty="0"/>
              <a:t>Manon Mottier; Gilles Chardon; Frédéric Pascal</a:t>
            </a:r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r>
              <a:rPr lang="en-US" sz="1100" dirty="0"/>
              <a:t>Next objectives</a:t>
            </a:r>
          </a:p>
          <a:p>
            <a:pPr lvl="1"/>
            <a:endParaRPr lang="en-US" sz="1100" dirty="0"/>
          </a:p>
          <a:p>
            <a:pPr lvl="1"/>
            <a:r>
              <a:rPr lang="en-US" sz="1100" dirty="0"/>
              <a:t>Clustering: Define a metric to identify identical RADARs in Frequency and Pulse Width</a:t>
            </a:r>
          </a:p>
          <a:p>
            <a:pPr lvl="1"/>
            <a:endParaRPr lang="en-US" sz="1100" dirty="0"/>
          </a:p>
          <a:p>
            <a:pPr lvl="1"/>
            <a:r>
              <a:rPr lang="en-US" sz="1100" dirty="0"/>
              <a:t>Improve model decision to cut the dendrogram:</a:t>
            </a:r>
          </a:p>
          <a:p>
            <a:pPr lvl="2"/>
            <a:r>
              <a:rPr lang="en-US" sz="1100" dirty="0"/>
              <a:t>Create a new metric</a:t>
            </a:r>
          </a:p>
          <a:p>
            <a:pPr lvl="2"/>
            <a:r>
              <a:rPr lang="en-US" sz="1100" dirty="0"/>
              <a:t>Use alternative methods (LSTM)</a:t>
            </a:r>
          </a:p>
          <a:p>
            <a:pPr lvl="2"/>
            <a:endParaRPr lang="en-US" sz="1100" dirty="0"/>
          </a:p>
          <a:p>
            <a:pPr lvl="1"/>
            <a:r>
              <a:rPr lang="en-US" sz="1100" dirty="0"/>
              <a:t>Classification and RADAR identification from a reference database </a:t>
            </a:r>
          </a:p>
          <a:p>
            <a:pPr lvl="2"/>
            <a:endParaRPr lang="en-US" sz="1100" dirty="0"/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9049369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4294967295"/>
          </p:nvPr>
        </p:nvSpPr>
        <p:spPr>
          <a:xfrm>
            <a:off x="144016" y="2161405"/>
            <a:ext cx="3779912" cy="2066525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</a:rPr>
              <a:t>Thank you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sz="1000" dirty="0">
                <a:solidFill>
                  <a:schemeClr val="bg1"/>
                </a:solidFill>
              </a:rPr>
              <a:t>For more information please contact:</a:t>
            </a:r>
          </a:p>
          <a:p>
            <a:pPr marL="0" indent="0">
              <a:buNone/>
            </a:pP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Manon MOTTIER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manon.mottier@atos.net</a:t>
            </a:r>
            <a:endParaRPr lang="en-US" dirty="0"/>
          </a:p>
        </p:txBody>
      </p:sp>
      <p:cxnSp>
        <p:nvCxnSpPr>
          <p:cNvPr id="5" name="Connecteur droit 4"/>
          <p:cNvCxnSpPr/>
          <p:nvPr/>
        </p:nvCxnSpPr>
        <p:spPr>
          <a:xfrm>
            <a:off x="0" y="2499742"/>
            <a:ext cx="914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34654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073557-2DEB-4DBE-98F0-08CE88D997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0A9607-46FA-4001-ACFE-E7CE5C3CA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278" y="1275606"/>
            <a:ext cx="8744847" cy="2724894"/>
          </a:xfrm>
        </p:spPr>
        <p:txBody>
          <a:bodyPr/>
          <a:lstStyle/>
          <a:p>
            <a:pPr marL="400050" indent="-400050">
              <a:buFont typeface="+mj-lt"/>
              <a:buAutoNum type="romanUcPeriod"/>
            </a:pPr>
            <a:r>
              <a:rPr lang="fr-FR" sz="1400" dirty="0"/>
              <a:t>Data description</a:t>
            </a:r>
          </a:p>
          <a:p>
            <a:pPr marL="400050" indent="-400050">
              <a:buFont typeface="+mj-lt"/>
              <a:buAutoNum type="romanUcPeriod"/>
            </a:pPr>
            <a:endParaRPr lang="fr-FR" sz="1400" dirty="0"/>
          </a:p>
          <a:p>
            <a:pPr marL="400050" indent="-400050">
              <a:buFont typeface="+mj-lt"/>
              <a:buAutoNum type="romanUcPeriod"/>
            </a:pPr>
            <a:endParaRPr lang="fr-FR" sz="1400" dirty="0"/>
          </a:p>
          <a:p>
            <a:pPr marL="400050" indent="-400050">
              <a:buFont typeface="+mj-lt"/>
              <a:buAutoNum type="romanUcPeriod"/>
            </a:pPr>
            <a:r>
              <a:rPr lang="fr-FR" sz="1400" dirty="0" err="1"/>
              <a:t>Proposed</a:t>
            </a:r>
            <a:r>
              <a:rPr lang="fr-FR" sz="1400" dirty="0"/>
              <a:t> </a:t>
            </a:r>
            <a:r>
              <a:rPr lang="fr-FR" sz="1400" dirty="0" err="1"/>
              <a:t>approach</a:t>
            </a:r>
            <a:endParaRPr lang="fr-FR" sz="1400" dirty="0"/>
          </a:p>
          <a:p>
            <a:pPr marL="400050" indent="-400050">
              <a:buFont typeface="+mj-lt"/>
              <a:buAutoNum type="romanUcPeriod"/>
            </a:pPr>
            <a:endParaRPr lang="fr-FR" sz="1400" dirty="0"/>
          </a:p>
          <a:p>
            <a:pPr marL="400050" indent="-400050">
              <a:buFont typeface="+mj-lt"/>
              <a:buAutoNum type="romanUcPeriod"/>
            </a:pPr>
            <a:endParaRPr lang="fr-FR" sz="1400" dirty="0"/>
          </a:p>
          <a:p>
            <a:pPr marL="400050" indent="-400050">
              <a:buFont typeface="+mj-lt"/>
              <a:buAutoNum type="romanUcPeriod"/>
            </a:pPr>
            <a:r>
              <a:rPr lang="fr-FR" sz="1400" dirty="0" err="1"/>
              <a:t>Results</a:t>
            </a:r>
            <a:endParaRPr lang="fr-FR" sz="1400" dirty="0"/>
          </a:p>
          <a:p>
            <a:pPr marL="400050" indent="-400050">
              <a:buFont typeface="+mj-lt"/>
              <a:buAutoNum type="romanUcPeriod"/>
            </a:pPr>
            <a:endParaRPr lang="fr-FR" sz="1400" dirty="0"/>
          </a:p>
          <a:p>
            <a:pPr marL="400050" indent="-400050">
              <a:buFont typeface="+mj-lt"/>
              <a:buAutoNum type="romanUcPeriod"/>
            </a:pPr>
            <a:endParaRPr lang="fr-FR" sz="1400" dirty="0"/>
          </a:p>
          <a:p>
            <a:pPr marL="400050" indent="-400050">
              <a:buFont typeface="+mj-lt"/>
              <a:buAutoNum type="romanUcPeriod"/>
            </a:pPr>
            <a:r>
              <a:rPr lang="fr-FR" sz="1400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687199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description</a:t>
            </a:r>
          </a:p>
        </p:txBody>
      </p:sp>
    </p:spTree>
    <p:extLst>
      <p:ext uri="{BB962C8B-B14F-4D97-AF65-F5344CB8AC3E}">
        <p14:creationId xmlns:p14="http://schemas.microsoft.com/office/powerpoint/2010/main" val="1378647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073557-2DEB-4DBE-98F0-08CE88D997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ain challeng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0A9607-46FA-4001-ACFE-E7CE5C3CA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278" y="1131590"/>
            <a:ext cx="8744847" cy="3384376"/>
          </a:xfrm>
        </p:spPr>
        <p:txBody>
          <a:bodyPr/>
          <a:lstStyle/>
          <a:p>
            <a:pPr marL="0" indent="0">
              <a:buNone/>
            </a:pPr>
            <a:r>
              <a:rPr lang="en-US" b="1" u="sng" dirty="0"/>
              <a:t>Data complexity: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ome RADARs do not continuously transmit</a:t>
            </a:r>
          </a:p>
          <a:p>
            <a:endParaRPr lang="en-US" dirty="0"/>
          </a:p>
          <a:p>
            <a:r>
              <a:rPr lang="en-US" dirty="0"/>
              <a:t>Noisy data, e.g., sensors are not optimal, parasites, weak SNR…</a:t>
            </a:r>
          </a:p>
          <a:p>
            <a:endParaRPr lang="en-US" dirty="0"/>
          </a:p>
          <a:p>
            <a:r>
              <a:rPr lang="en-US" dirty="0"/>
              <a:t>Identifiability issues: Different RADARs may have very close, almost identical, characteristics (e.g., in airports or harbors …)</a:t>
            </a:r>
          </a:p>
          <a:p>
            <a:endParaRPr lang="en-US" dirty="0"/>
          </a:p>
          <a:p>
            <a:r>
              <a:rPr lang="en-US" dirty="0"/>
              <a:t>Volume and heterogeneity: Signals of different sizes (from 50 pulses to more than 1 000 000 pulses) that may contain up to 10 RADAR(s)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6241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ata descrip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alistic simulator since real labeled data are not easily accessible</a:t>
            </a:r>
          </a:p>
          <a:p>
            <a:endParaRPr lang="en-US" dirty="0"/>
          </a:p>
          <a:p>
            <a:r>
              <a:rPr lang="en-US" dirty="0"/>
              <a:t>Each dataset is composed of RADAR pulses, described by only 4 features: 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Frequency (F),</a:t>
            </a:r>
          </a:p>
          <a:p>
            <a:pPr lvl="1"/>
            <a:r>
              <a:rPr lang="en-US" dirty="0"/>
              <a:t>Pulse Width (PW)</a:t>
            </a:r>
          </a:p>
          <a:p>
            <a:pPr lvl="1"/>
            <a:r>
              <a:rPr lang="en-US" dirty="0"/>
              <a:t>Level (L) </a:t>
            </a:r>
          </a:p>
          <a:p>
            <a:pPr lvl="1"/>
            <a:r>
              <a:rPr lang="en-US" dirty="0"/>
              <a:t>Time of Arrival (TOA)</a:t>
            </a:r>
          </a:p>
          <a:p>
            <a:pPr lvl="1"/>
            <a:endParaRPr lang="en-US" dirty="0"/>
          </a:p>
          <a:p>
            <a:r>
              <a:rPr lang="en-US" dirty="0"/>
              <a:t>Work only from these 4 features</a:t>
            </a:r>
          </a:p>
          <a:p>
            <a:endParaRPr lang="en-US" dirty="0"/>
          </a:p>
          <a:p>
            <a:r>
              <a:rPr lang="en-US" dirty="0"/>
              <a:t>No use the dTOA</a:t>
            </a:r>
          </a:p>
          <a:p>
            <a:endParaRPr lang="en-US" dirty="0"/>
          </a:p>
          <a:p>
            <a:r>
              <a:rPr lang="en-US" dirty="0"/>
              <a:t>No assumption on the waveform</a:t>
            </a:r>
          </a:p>
          <a:p>
            <a:endParaRPr lang="en-US" dirty="0"/>
          </a:p>
          <a:p>
            <a:r>
              <a:rPr lang="en-US" dirty="0"/>
              <a:t>Unsupervised setting but evaluate methods on labeled datasets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186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5F39EC-D363-4654-94AC-552C7E703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ata descrip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44AFACB-6A01-4893-AB65-2C2AFB45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701" y="1091805"/>
            <a:ext cx="2920131" cy="347424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Example of a </a:t>
            </a:r>
            <a:r>
              <a:rPr lang="en-US" b="1" u="sng" dirty="0"/>
              <a:t>simple</a:t>
            </a:r>
            <a:r>
              <a:rPr lang="en-US" dirty="0"/>
              <a:t> signal containing 2 RADAR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36 262 pulses</a:t>
            </a:r>
          </a:p>
          <a:p>
            <a:endParaRPr lang="en-US" dirty="0"/>
          </a:p>
          <a:p>
            <a:pPr lvl="1"/>
            <a:r>
              <a:rPr lang="en-US" dirty="0"/>
              <a:t>Radar 0: 34 749 (96%)</a:t>
            </a:r>
          </a:p>
          <a:p>
            <a:pPr lvl="1"/>
            <a:r>
              <a:rPr lang="en-US" dirty="0"/>
              <a:t>Radar 1: 1 578 (4%)</a:t>
            </a:r>
          </a:p>
          <a:p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7C29D92-7270-432E-87F6-9C0FD5A23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856" y="991143"/>
            <a:ext cx="5822956" cy="4152356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7291FCA-3143-4082-9258-BAEE10E79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3012001"/>
            <a:ext cx="2122235" cy="1554048"/>
          </a:xfrm>
          <a:prstGeom prst="rect">
            <a:avLst/>
          </a:prstGeom>
          <a:ln>
            <a:solidFill>
              <a:srgbClr val="FFC000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07623DC-E369-44FD-AB0E-4C0B17DE8184}"/>
              </a:ext>
            </a:extLst>
          </p:cNvPr>
          <p:cNvSpPr/>
          <p:nvPr/>
        </p:nvSpPr>
        <p:spPr>
          <a:xfrm>
            <a:off x="4283968" y="3147815"/>
            <a:ext cx="216024" cy="1607932"/>
          </a:xfrm>
          <a:prstGeom prst="rect">
            <a:avLst/>
          </a:prstGeom>
          <a:noFill/>
          <a:ln w="127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C3171A7C-2F8E-453A-8A79-550A3FA4A2E8}"/>
              </a:ext>
            </a:extLst>
          </p:cNvPr>
          <p:cNvCxnSpPr>
            <a:cxnSpLocks/>
            <a:endCxn id="5" idx="3"/>
          </p:cNvCxnSpPr>
          <p:nvPr/>
        </p:nvCxnSpPr>
        <p:spPr>
          <a:xfrm flipH="1" flipV="1">
            <a:off x="2733795" y="3789025"/>
            <a:ext cx="1550173" cy="150877"/>
          </a:xfrm>
          <a:prstGeom prst="straightConnector1">
            <a:avLst/>
          </a:prstGeom>
          <a:ln w="12700">
            <a:solidFill>
              <a:srgbClr val="FFC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07388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Approach</a:t>
            </a:r>
          </a:p>
        </p:txBody>
      </p:sp>
    </p:spTree>
    <p:extLst>
      <p:ext uri="{BB962C8B-B14F-4D97-AF65-F5344CB8AC3E}">
        <p14:creationId xmlns:p14="http://schemas.microsoft.com/office/powerpoint/2010/main" val="25867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Atos_2016_16-9_template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New Atos Template with corporate colours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Verdana"/>
            <a:cs typeface="Verdana"/>
          </a:defRPr>
        </a:defPPr>
      </a:lstStyle>
    </a:txDef>
  </a:objectDefaults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Atos v4.0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 Technology Unit H1 2016" id="{856ECD45-8D35-1B4B-A616-96EDB291CD92}" vid="{97D919D0-DC5F-584B-A116-7A582B9704CC}"/>
    </a:ext>
  </a:extLst>
</a:theme>
</file>

<file path=ppt/theme/theme4.xml><?xml version="1.0" encoding="utf-8"?>
<a:theme xmlns:a="http://schemas.openxmlformats.org/drawingml/2006/main" name="1_New Atos Template with corporate colours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Verdana"/>
            <a:cs typeface="Verdana"/>
          </a:defRPr>
        </a:defPPr>
      </a:lstStyle>
    </a:txDef>
  </a:objectDefaults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Atos_2016_16-9_template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New Atos Template with corporate colours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Verdana"/>
            <a:cs typeface="Verdana"/>
          </a:defRPr>
        </a:defPPr>
      </a:lstStyle>
    </a:txDef>
  </a:objectDefaults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os_2016_16-9_template</Template>
  <TotalTime>0</TotalTime>
  <Words>1614</Words>
  <Application>Microsoft Office PowerPoint</Application>
  <PresentationFormat>Affichage à l'écran (16:9)</PresentationFormat>
  <Paragraphs>461</Paragraphs>
  <Slides>39</Slides>
  <Notes>8</Notes>
  <HiddenSlides>1</HiddenSlides>
  <MMClips>0</MMClips>
  <ScaleCrop>false</ScaleCrop>
  <HeadingPairs>
    <vt:vector size="6" baseType="variant">
      <vt:variant>
        <vt:lpstr>Polices utilisées</vt:lpstr>
      </vt:variant>
      <vt:variant>
        <vt:i4>16</vt:i4>
      </vt:variant>
      <vt:variant>
        <vt:lpstr>Thème</vt:lpstr>
      </vt:variant>
      <vt:variant>
        <vt:i4>6</vt:i4>
      </vt:variant>
      <vt:variant>
        <vt:lpstr>Titres des diapositives</vt:lpstr>
      </vt:variant>
      <vt:variant>
        <vt:i4>39</vt:i4>
      </vt:variant>
    </vt:vector>
  </HeadingPairs>
  <TitlesOfParts>
    <vt:vector size="61" baseType="lpstr">
      <vt:lpstr>Arial</vt:lpstr>
      <vt:lpstr>Calibri</vt:lpstr>
      <vt:lpstr>Cambria Math</vt:lpstr>
      <vt:lpstr>Lucida Sans</vt:lpstr>
      <vt:lpstr>Lucida Sans Unicode</vt:lpstr>
      <vt:lpstr>Roboto Light</vt:lpstr>
      <vt:lpstr>Stag LCG Book</vt:lpstr>
      <vt:lpstr>Stag LCG Light</vt:lpstr>
      <vt:lpstr>Stag LCG Medium</vt:lpstr>
      <vt:lpstr>Stag LCG Semibold</vt:lpstr>
      <vt:lpstr>Stag Sans Book</vt:lpstr>
      <vt:lpstr>Stag Sans LCG Book</vt:lpstr>
      <vt:lpstr>Stag Sans LCG Light</vt:lpstr>
      <vt:lpstr>Times New Roman</vt:lpstr>
      <vt:lpstr>Verdana</vt:lpstr>
      <vt:lpstr>Wingdings</vt:lpstr>
      <vt:lpstr>Atos_2016_16-9_template</vt:lpstr>
      <vt:lpstr>New Atos Template with corporate colours</vt:lpstr>
      <vt:lpstr>1_Atos v4.0</vt:lpstr>
      <vt:lpstr>1_New Atos Template with corporate colours</vt:lpstr>
      <vt:lpstr>1_Atos_2016_16-9_template</vt:lpstr>
      <vt:lpstr>2_New Atos Template with corporate colours</vt:lpstr>
      <vt:lpstr>Deinterleaving RADAR pulses</vt:lpstr>
      <vt:lpstr>Context</vt:lpstr>
      <vt:lpstr>Context</vt:lpstr>
      <vt:lpstr>Content</vt:lpstr>
      <vt:lpstr>Data description</vt:lpstr>
      <vt:lpstr>Main challenges</vt:lpstr>
      <vt:lpstr>Data description</vt:lpstr>
      <vt:lpstr>Data description</vt:lpstr>
      <vt:lpstr>Proposed Approach</vt:lpstr>
      <vt:lpstr>Proposed approach</vt:lpstr>
      <vt:lpstr>Proposed approach Step 1: Clustering  </vt:lpstr>
      <vt:lpstr>Proposed approach Step 1: Clustering  </vt:lpstr>
      <vt:lpstr>Proposed approach Step 1: Clustering  </vt:lpstr>
      <vt:lpstr>Proposed approach Step 2: Cluster fusion  </vt:lpstr>
      <vt:lpstr>Proposed approach Step 2: Cluster fusion  </vt:lpstr>
      <vt:lpstr>Proposed approach Step 2: Cluster fusion  </vt:lpstr>
      <vt:lpstr>Proposed approach Step 2: Cluster fusion  </vt:lpstr>
      <vt:lpstr>Proposed approach Step 2: Cluster fusion  </vt:lpstr>
      <vt:lpstr>Proposed approach Step 2: Cluster fusion  </vt:lpstr>
      <vt:lpstr>Proposed approach Step 2: Cluster fusion  </vt:lpstr>
      <vt:lpstr>Proposed approach Step 2: Cluster fusion  </vt:lpstr>
      <vt:lpstr>Results</vt:lpstr>
      <vt:lpstr>Application case 1</vt:lpstr>
      <vt:lpstr>Initial data</vt:lpstr>
      <vt:lpstr>Step 1: Clustering HDBSCAN</vt:lpstr>
      <vt:lpstr>Step 2: Cluster fusion Histograms</vt:lpstr>
      <vt:lpstr>Step 2: Cluster fusion Dendrogram  </vt:lpstr>
      <vt:lpstr>Step 2: Cluster fusion Final groupings  </vt:lpstr>
      <vt:lpstr>Application case 2</vt:lpstr>
      <vt:lpstr>Initial data</vt:lpstr>
      <vt:lpstr>Step 2: Cluster fusion True label  </vt:lpstr>
      <vt:lpstr>Step 1: Clustering HDBSCAN</vt:lpstr>
      <vt:lpstr>Step 2: Cluster fusion Histograms</vt:lpstr>
      <vt:lpstr>Step 2: Cluster fusion Dendrogram  </vt:lpstr>
      <vt:lpstr>Step 2: Cluster fusion Final grouping  </vt:lpstr>
      <vt:lpstr>Step 2: Cluster fusion Final grouping  </vt:lpstr>
      <vt:lpstr>Conclusion</vt:lpstr>
      <vt:lpstr>Conclusions and Next objectives  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/>
  <cp:lastModifiedBy/>
  <cp:revision>27</cp:revision>
  <dcterms:created xsi:type="dcterms:W3CDTF">2017-04-26T14:42:54Z</dcterms:created>
  <dcterms:modified xsi:type="dcterms:W3CDTF">2021-07-06T18:5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-855785316</vt:i4>
  </property>
  <property fmtid="{D5CDD505-2E9C-101B-9397-08002B2CF9AE}" pid="4" name="_PreviousAdHocReviewCycleID">
    <vt:i4>-344032757</vt:i4>
  </property>
  <property fmtid="{D5CDD505-2E9C-101B-9397-08002B2CF9AE}" pid="5" name="MSIP_Label_e463cba9-5f6c-478d-9329-7b2295e4e8ed_Enabled">
    <vt:lpwstr>true</vt:lpwstr>
  </property>
  <property fmtid="{D5CDD505-2E9C-101B-9397-08002B2CF9AE}" pid="6" name="MSIP_Label_e463cba9-5f6c-478d-9329-7b2295e4e8ed_SetDate">
    <vt:lpwstr>2021-03-31T08:23:35Z</vt:lpwstr>
  </property>
  <property fmtid="{D5CDD505-2E9C-101B-9397-08002B2CF9AE}" pid="7" name="MSIP_Label_e463cba9-5f6c-478d-9329-7b2295e4e8ed_Method">
    <vt:lpwstr>Standard</vt:lpwstr>
  </property>
  <property fmtid="{D5CDD505-2E9C-101B-9397-08002B2CF9AE}" pid="8" name="MSIP_Label_e463cba9-5f6c-478d-9329-7b2295e4e8ed_Name">
    <vt:lpwstr>All Employees_2</vt:lpwstr>
  </property>
  <property fmtid="{D5CDD505-2E9C-101B-9397-08002B2CF9AE}" pid="9" name="MSIP_Label_e463cba9-5f6c-478d-9329-7b2295e4e8ed_SiteId">
    <vt:lpwstr>33440fc6-b7c7-412c-bb73-0e70b0198d5a</vt:lpwstr>
  </property>
  <property fmtid="{D5CDD505-2E9C-101B-9397-08002B2CF9AE}" pid="10" name="MSIP_Label_e463cba9-5f6c-478d-9329-7b2295e4e8ed_ActionId">
    <vt:lpwstr>761df80f-dacb-447b-b2d1-460f593e9a9f</vt:lpwstr>
  </property>
  <property fmtid="{D5CDD505-2E9C-101B-9397-08002B2CF9AE}" pid="11" name="MSIP_Label_e463cba9-5f6c-478d-9329-7b2295e4e8ed_ContentBits">
    <vt:lpwstr>0</vt:lpwstr>
  </property>
</Properties>
</file>